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5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4" r:id="rId1"/>
    <p:sldMasterId id="2147483859" r:id="rId2"/>
    <p:sldMasterId id="2147483861" r:id="rId3"/>
    <p:sldMasterId id="2147483866" r:id="rId4"/>
    <p:sldMasterId id="2147483868" r:id="rId5"/>
    <p:sldMasterId id="2147483885" r:id="rId6"/>
  </p:sldMasterIdLst>
  <p:notesMasterIdLst>
    <p:notesMasterId r:id="rId46"/>
  </p:notesMasterIdLst>
  <p:handoutMasterIdLst>
    <p:handoutMasterId r:id="rId47"/>
  </p:handoutMasterIdLst>
  <p:sldIdLst>
    <p:sldId id="2529" r:id="rId7"/>
    <p:sldId id="2603" r:id="rId8"/>
    <p:sldId id="2594" r:id="rId9"/>
    <p:sldId id="2593" r:id="rId10"/>
    <p:sldId id="2653" r:id="rId11"/>
    <p:sldId id="2530" r:id="rId12"/>
    <p:sldId id="2625" r:id="rId13"/>
    <p:sldId id="2596" r:id="rId14"/>
    <p:sldId id="2658" r:id="rId15"/>
    <p:sldId id="2657" r:id="rId16"/>
    <p:sldId id="2629" r:id="rId17"/>
    <p:sldId id="2652" r:id="rId18"/>
    <p:sldId id="2628" r:id="rId19"/>
    <p:sldId id="2664" r:id="rId20"/>
    <p:sldId id="2559" r:id="rId21"/>
    <p:sldId id="2634" r:id="rId22"/>
    <p:sldId id="2630" r:id="rId23"/>
    <p:sldId id="2631" r:id="rId24"/>
    <p:sldId id="2639" r:id="rId25"/>
    <p:sldId id="2654" r:id="rId26"/>
    <p:sldId id="2635" r:id="rId27"/>
    <p:sldId id="2640" r:id="rId28"/>
    <p:sldId id="2641" r:id="rId29"/>
    <p:sldId id="2642" r:id="rId30"/>
    <p:sldId id="2618" r:id="rId31"/>
    <p:sldId id="2632" r:id="rId32"/>
    <p:sldId id="2620" r:id="rId33"/>
    <p:sldId id="2644" r:id="rId34"/>
    <p:sldId id="2633" r:id="rId35"/>
    <p:sldId id="2643" r:id="rId36"/>
    <p:sldId id="2609" r:id="rId37"/>
    <p:sldId id="2611" r:id="rId38"/>
    <p:sldId id="2663" r:id="rId39"/>
    <p:sldId id="2659" r:id="rId40"/>
    <p:sldId id="2645" r:id="rId41"/>
    <p:sldId id="2648" r:id="rId42"/>
    <p:sldId id="2662" r:id="rId43"/>
    <p:sldId id="2647" r:id="rId44"/>
    <p:sldId id="2655" r:id="rId45"/>
  </p:sldIdLst>
  <p:sldSz cx="9906000" cy="6858000" type="A4"/>
  <p:notesSz cx="6807200" cy="9939338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5pPr>
    <a:lvl6pPr marL="2286000" algn="l" defTabSz="914400" rtl="0" eaLnBrk="1" latinLnBrk="1" hangingPunct="1"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6pPr>
    <a:lvl7pPr marL="2743200" algn="l" defTabSz="914400" rtl="0" eaLnBrk="1" latinLnBrk="1" hangingPunct="1"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7pPr>
    <a:lvl8pPr marL="3200400" algn="l" defTabSz="914400" rtl="0" eaLnBrk="1" latinLnBrk="1" hangingPunct="1"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8pPr>
    <a:lvl9pPr marL="3657600" algn="l" defTabSz="914400" rtl="0" eaLnBrk="1" latinLnBrk="1" hangingPunct="1"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0. 표지" id="{D835302F-D8DB-4A22-8662-36A4FB301DD2}">
          <p14:sldIdLst>
            <p14:sldId id="2529"/>
          </p14:sldIdLst>
        </p14:section>
        <p14:section name="1. 과제 요약서&amp;등록서" id="{B5A731E7-5031-427A-AE42-72EFEE4DCBE3}">
          <p14:sldIdLst>
            <p14:sldId id="2603"/>
            <p14:sldId id="2594"/>
            <p14:sldId id="2593"/>
          </p14:sldIdLst>
        </p14:section>
        <p14:section name="2. 과제_Impact" id="{AE99F920-D094-4674-B907-FC9A63F8A405}">
          <p14:sldIdLst>
            <p14:sldId id="2653"/>
            <p14:sldId id="2530"/>
            <p14:sldId id="2625"/>
            <p14:sldId id="2596"/>
            <p14:sldId id="2658"/>
            <p14:sldId id="2657"/>
          </p14:sldIdLst>
        </p14:section>
        <p14:section name="3. 과제 실행 기획" id="{1F613ABA-198A-4EF0-955D-1B92C0770974}">
          <p14:sldIdLst>
            <p14:sldId id="2629"/>
            <p14:sldId id="2652"/>
            <p14:sldId id="2628"/>
            <p14:sldId id="2664"/>
            <p14:sldId id="2559"/>
            <p14:sldId id="2634"/>
            <p14:sldId id="2630"/>
            <p14:sldId id="2631"/>
          </p14:sldIdLst>
        </p14:section>
        <p14:section name="4. 과제 수행 절차" id="{FB17C467-C010-4CFD-A79F-8F2B1050BEF4}">
          <p14:sldIdLst>
            <p14:sldId id="2639"/>
            <p14:sldId id="2654"/>
            <p14:sldId id="2635"/>
            <p14:sldId id="2640"/>
            <p14:sldId id="2641"/>
            <p14:sldId id="2642"/>
            <p14:sldId id="2618"/>
            <p14:sldId id="2632"/>
            <p14:sldId id="2620"/>
          </p14:sldIdLst>
        </p14:section>
        <p14:section name="성공 및 변화관리" id="{60BFDB77-FB70-4BD1-93EF-AEF621E1A9E5}">
          <p14:sldIdLst>
            <p14:sldId id="2644"/>
            <p14:sldId id="2633"/>
            <p14:sldId id="2643"/>
            <p14:sldId id="2609"/>
            <p14:sldId id="2611"/>
            <p14:sldId id="2663"/>
            <p14:sldId id="2659"/>
            <p14:sldId id="2645"/>
            <p14:sldId id="2648"/>
            <p14:sldId id="2662"/>
            <p14:sldId id="2647"/>
            <p14:sldId id="265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pos="81" userDrawn="1">
          <p15:clr>
            <a:srgbClr val="A4A3A4"/>
          </p15:clr>
        </p15:guide>
        <p15:guide id="4" pos="58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099CC"/>
    <a:srgbClr val="FF4B4B"/>
    <a:srgbClr val="008000"/>
    <a:srgbClr val="000092"/>
    <a:srgbClr val="00007E"/>
    <a:srgbClr val="000099"/>
    <a:srgbClr val="FFFF99"/>
    <a:srgbClr val="85CA3A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13" autoAdjust="0"/>
    <p:restoredTop sz="99634" autoAdjust="0"/>
  </p:normalViewPr>
  <p:slideViewPr>
    <p:cSldViewPr>
      <p:cViewPr varScale="1">
        <p:scale>
          <a:sx n="116" d="100"/>
          <a:sy n="116" d="100"/>
        </p:scale>
        <p:origin x="3264" y="108"/>
      </p:cViewPr>
      <p:guideLst>
        <p:guide orient="horz" pos="4201"/>
        <p:guide orient="horz" pos="436"/>
        <p:guide pos="81"/>
        <p:guide pos="58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>
      <p:cViewPr>
        <p:scale>
          <a:sx n="200" d="100"/>
          <a:sy n="200" d="100"/>
        </p:scale>
        <p:origin x="-1344" y="3570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handoutMaster" Target="handoutMasters/handoutMaster1.xml"/><Relationship Id="rId50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presProps" Target="presProps.xml"/><Relationship Id="rId8" Type="http://schemas.openxmlformats.org/officeDocument/2006/relationships/slide" Target="slides/slide2.xml"/><Relationship Id="rId51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6039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201367FF-F6C3-4F30-98AC-1744EF87049A}" type="datetimeFigureOut">
              <a:rPr lang="ko-KR" altLang="en-US"/>
              <a:pPr>
                <a:defRPr/>
              </a:pPr>
              <a:t>2023-09-12</a:t>
            </a:fld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1" y="9440865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6039" y="9440865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7C4897B2-0339-47A6-A4D5-900B0DE85B8A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01474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6039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197AF8E2-B0D5-47E8-BE2C-4A4951B4EEF9}" type="datetimeFigureOut">
              <a:rPr lang="ko-KR" altLang="en-US"/>
              <a:pPr>
                <a:defRPr/>
              </a:pPr>
              <a:t>2023-09-12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ko-KR" altLang="en-US" noProof="0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1039" y="4721226"/>
            <a:ext cx="5445125" cy="4471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ko-KR" altLang="en-US" noProof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440865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6039" y="9440865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383C25C9-83AC-4448-97B9-6E666CCFDC4D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263931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맑은 고딕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맑은 고딕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맑은 고딕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맑은 고딕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맑은 고딕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1EEE24-ABC2-420C-A2FD-5430EDF39A38}" type="slidenum">
              <a:rPr lang="ko-KR" altLang="en-US" smtClean="0">
                <a:solidFill>
                  <a:prstClr val="black"/>
                </a:solidFill>
              </a:rPr>
              <a:pPr/>
              <a:t>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3970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본문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5"/>
          <p:cNvCxnSpPr/>
          <p:nvPr userDrawn="1"/>
        </p:nvCxnSpPr>
        <p:spPr>
          <a:xfrm>
            <a:off x="0" y="548681"/>
            <a:ext cx="9906000" cy="15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슬라이드 번호 개체 틀 1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72F38F-0157-4C18-9C35-1537A4C0F4A7}" type="slidenum">
              <a:rPr lang="en-US" altLang="ko-KR"/>
              <a:pPr>
                <a:defRPr/>
              </a:pPr>
              <a:t>‹#›</a:t>
            </a:fld>
            <a:endParaRPr lang="ko-KR" altLang="en-US" b="0" dirty="0">
              <a:solidFill>
                <a:schemeClr val="tx1"/>
              </a:solidFill>
              <a:latin typeface="굴림" pitchFamily="50" charset="-127"/>
              <a:ea typeface="굴림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9572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34985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="" xmlns:a16="http://schemas.microsoft.com/office/drawing/2014/main" id="{2F829532-F0F5-438D-AF13-7F91A6F0F7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681038" y="6356356"/>
            <a:ext cx="2228850" cy="365125"/>
          </a:xfrm>
          <a:prstGeom prst="rect">
            <a:avLst/>
          </a:prstGeom>
        </p:spPr>
        <p:txBody>
          <a:bodyPr lIns="77898" tIns="38949" rIns="77898" bIns="38949"/>
          <a:lstStyle/>
          <a:p>
            <a:pPr defTabSz="843876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625">
              <a:solidFill>
                <a:prstClr val="black"/>
              </a:solidFill>
              <a:latin typeface="Arial"/>
              <a:ea typeface="돋움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281368" y="6356356"/>
            <a:ext cx="3343275" cy="365125"/>
          </a:xfrm>
          <a:prstGeom prst="rect">
            <a:avLst/>
          </a:prstGeom>
        </p:spPr>
        <p:txBody>
          <a:bodyPr lIns="77898" tIns="38949" rIns="77898" bIns="38949"/>
          <a:lstStyle/>
          <a:p>
            <a:pPr defTabSz="843876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625">
              <a:solidFill>
                <a:prstClr val="black"/>
              </a:solidFill>
              <a:latin typeface="Arial"/>
              <a:ea typeface="돋움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996113" y="6356356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3E24F5A6-BE24-454D-9588-83C80DE2A425}" type="slidenum">
              <a:rPr kumimoji="0" lang="ko-KR" altLang="en-US" smtClean="0">
                <a:solidFill>
                  <a:prstClr val="black"/>
                </a:solidFill>
                <a:latin typeface="Arial Narrow"/>
                <a:ea typeface="LG스마트체 Regular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>
              <a:solidFill>
                <a:prstClr val="black"/>
              </a:solidFill>
              <a:latin typeface="Arial Narrow"/>
              <a:ea typeface="LG스마트체 Regular"/>
            </a:endParaRPr>
          </a:p>
        </p:txBody>
      </p:sp>
      <p:sp>
        <p:nvSpPr>
          <p:cNvPr id="9" name="텍스트 개체 틀 8">
            <a:extLst>
              <a:ext uri="{FF2B5EF4-FFF2-40B4-BE49-F238E27FC236}">
                <a16:creationId xmlns="" xmlns:a16="http://schemas.microsoft.com/office/drawing/2014/main" id="{84CA1B22-FE86-40D0-B7EC-DBB14AB80F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0490" y="645584"/>
            <a:ext cx="9204673" cy="388267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30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lvl="0"/>
            <a:r>
              <a:rPr lang="ko-KR" altLang="en-US"/>
              <a:t>헤드</a:t>
            </a:r>
          </a:p>
        </p:txBody>
      </p:sp>
    </p:spTree>
    <p:extLst>
      <p:ext uri="{BB962C8B-B14F-4D97-AF65-F5344CB8AC3E}">
        <p14:creationId xmlns:p14="http://schemas.microsoft.com/office/powerpoint/2010/main" val="4193506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5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1720">
          <p15:clr>
            <a:srgbClr val="FBAE40"/>
          </p15:clr>
        </p15:guide>
        <p15:guide id="4" pos="204">
          <p15:clr>
            <a:srgbClr val="FBAE40"/>
          </p15:clr>
        </p15:guide>
        <p15:guide id="5" pos="2925">
          <p15:clr>
            <a:srgbClr val="FBAE40"/>
          </p15:clr>
        </p15:guide>
        <p15:guide id="6" pos="2835">
          <p15:clr>
            <a:srgbClr val="FBAE40"/>
          </p15:clr>
        </p15:guide>
        <p15:guide id="7" pos="5556">
          <p15:clr>
            <a:srgbClr val="FBAE40"/>
          </p15:clr>
        </p15:guide>
        <p15:guide id="8" orient="horz" pos="3026">
          <p15:clr>
            <a:srgbClr val="FBAE40"/>
          </p15:clr>
        </p15:guide>
        <p15:guide id="9" orient="horz" pos="53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51129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109688F9-77DA-4015-A29A-6273AB5A93D9}" type="datetimeFigureOut">
              <a:rPr kumimoji="0" lang="ko-KR" altLang="en-US" smtClean="0">
                <a:solidFill>
                  <a:prstClr val="black"/>
                </a:solidFill>
                <a:latin typeface="Arial Narrow"/>
                <a:ea typeface="LG스마트체 Regular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3-09-12</a:t>
            </a:fld>
            <a:endParaRPr kumimoji="0" lang="ko-KR" altLang="en-US">
              <a:solidFill>
                <a:prstClr val="black"/>
              </a:solidFill>
              <a:latin typeface="Arial Narrow"/>
              <a:ea typeface="LG스마트체 Regular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>
              <a:solidFill>
                <a:prstClr val="black"/>
              </a:solidFill>
              <a:latin typeface="Arial Narrow"/>
              <a:ea typeface="LG스마트체 Regular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14C281C0-B2F8-40F9-9716-04DDBD6082D2}" type="slidenum">
              <a:rPr kumimoji="0" lang="ko-KR" altLang="en-US" smtClean="0">
                <a:solidFill>
                  <a:prstClr val="black"/>
                </a:solidFill>
                <a:latin typeface="Arial Narrow"/>
                <a:ea typeface="LG스마트체 Regular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>
              <a:solidFill>
                <a:prstClr val="black"/>
              </a:solidFill>
              <a:latin typeface="Arial Narrow"/>
              <a:ea typeface="LG스마트체 Regular"/>
            </a:endParaRPr>
          </a:p>
        </p:txBody>
      </p:sp>
      <p:cxnSp>
        <p:nvCxnSpPr>
          <p:cNvPr id="7" name="직선 연결선 6"/>
          <p:cNvCxnSpPr/>
          <p:nvPr userDrawn="1"/>
        </p:nvCxnSpPr>
        <p:spPr>
          <a:xfrm>
            <a:off x="128588" y="508422"/>
            <a:ext cx="965614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0340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직선 연결선 8"/>
          <p:cNvCxnSpPr/>
          <p:nvPr userDrawn="1"/>
        </p:nvCxnSpPr>
        <p:spPr>
          <a:xfrm>
            <a:off x="128588" y="508422"/>
            <a:ext cx="965614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3561542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27013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91014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76201" y="83941"/>
            <a:ext cx="9753599" cy="6629400"/>
          </a:xfrm>
          <a:prstGeom prst="rect">
            <a:avLst/>
          </a:prstGeom>
          <a:noFill/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altLang="ko-K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510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본문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5" descr="백색바탕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36525" y="6453189"/>
            <a:ext cx="682626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직선 연결선 3"/>
          <p:cNvCxnSpPr/>
          <p:nvPr userDrawn="1"/>
        </p:nvCxnSpPr>
        <p:spPr>
          <a:xfrm>
            <a:off x="0" y="548681"/>
            <a:ext cx="9906000" cy="15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슬라이드 번호 개체 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CCD0B8DC-5A2B-4B75-AF64-F8C8868F7AC4}" type="slidenum">
              <a:rPr lang="en-US" altLang="ko-KR"/>
              <a:pPr>
                <a:defRPr/>
              </a:pPr>
              <a:t>‹#›</a:t>
            </a:fld>
            <a:endParaRPr lang="ko-KR" altLang="en-US" b="0" dirty="0">
              <a:solidFill>
                <a:schemeClr val="tx1"/>
              </a:solidFill>
              <a:latin typeface="굴림" pitchFamily="50" charset="-127"/>
              <a:ea typeface="굴림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본문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5" descr="백색바탕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36525" y="6453189"/>
            <a:ext cx="682626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직선 연결선 3"/>
          <p:cNvCxnSpPr/>
          <p:nvPr userDrawn="1"/>
        </p:nvCxnSpPr>
        <p:spPr>
          <a:xfrm>
            <a:off x="0" y="548681"/>
            <a:ext cx="9906000" cy="15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슬라이드 번호 개체 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207CF72E-8DD5-4C31-AB80-9CA675F191CD}" type="slidenum">
              <a:rPr lang="en-US" altLang="ko-KR"/>
              <a:pPr>
                <a:defRPr/>
              </a:pPr>
              <a:t>‹#›</a:t>
            </a:fld>
            <a:endParaRPr lang="ko-KR" altLang="en-US" b="0" dirty="0">
              <a:solidFill>
                <a:schemeClr val="tx1"/>
              </a:solidFill>
              <a:latin typeface="굴림" pitchFamily="50" charset="-127"/>
              <a:ea typeface="굴림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819400" y="2714627"/>
            <a:ext cx="4275138" cy="2443163"/>
          </a:xfrm>
          <a:prstGeom prst="rect">
            <a:avLst/>
          </a:prstGeom>
          <a:solidFill>
            <a:srgbClr val="EFE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4" tIns="46792" rIns="91424" bIns="45712" anchor="ctr"/>
          <a:lstStyle>
            <a:lvl1pPr eaLnBrk="0" hangingPunct="0"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  <a:defRPr/>
            </a:pPr>
            <a:endParaRPr lang="ko-KR" altLang="en-US" sz="1700" smtClean="0">
              <a:solidFill>
                <a:srgbClr val="000000"/>
              </a:solidFill>
              <a:latin typeface="Arial" charset="0"/>
              <a:ea typeface="돋움" pitchFamily="50" charset="-127"/>
            </a:endParaRPr>
          </a:p>
        </p:txBody>
      </p:sp>
      <p:pic>
        <p:nvPicPr>
          <p:cNvPr id="5" name="Picture 21" descr="반드시일등합시다_일반서체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26" y="44452"/>
            <a:ext cx="2563812" cy="44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 descr="LG전자_공식로고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6" t="6146" r="5286" b="53928"/>
          <a:stretch>
            <a:fillRect/>
          </a:stretch>
        </p:blipFill>
        <p:spPr bwMode="auto">
          <a:xfrm>
            <a:off x="4000500" y="5437190"/>
            <a:ext cx="1909764" cy="655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764" y="1628775"/>
            <a:ext cx="9901238" cy="177800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defRPr/>
            </a:pPr>
            <a:endParaRPr lang="ko-KR" altLang="en-US" smtClean="0">
              <a:solidFill>
                <a:srgbClr val="000000"/>
              </a:solidFill>
              <a:latin typeface="돋움" pitchFamily="50" charset="-127"/>
              <a:ea typeface="돋움" pitchFamily="50" charset="-127"/>
            </a:endParaRPr>
          </a:p>
        </p:txBody>
      </p:sp>
      <p:sp>
        <p:nvSpPr>
          <p:cNvPr id="8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11464" y="2276477"/>
            <a:ext cx="4289425" cy="442913"/>
          </a:xfrm>
          <a:prstGeom prst="rect">
            <a:avLst/>
          </a:prstGeom>
          <a:solidFill>
            <a:srgbClr val="7B9A9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978" tIns="45709" rIns="89978" bIns="45709" anchor="ctr"/>
          <a:lstStyle>
            <a:lvl1pPr eaLnBrk="0" hangingPunct="0"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defRPr/>
            </a:pPr>
            <a:r>
              <a:rPr lang="ko-KR" altLang="en-US" smtClean="0">
                <a:solidFill>
                  <a:srgbClr val="FFFFFF"/>
                </a:solidFill>
                <a:latin typeface="Arial" charset="0"/>
                <a:ea typeface="돋움" pitchFamily="50" charset="-127"/>
              </a:rPr>
              <a:t>목차</a:t>
            </a:r>
          </a:p>
        </p:txBody>
      </p:sp>
      <p:sp>
        <p:nvSpPr>
          <p:cNvPr id="94208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505076" y="1123316"/>
            <a:ext cx="4902200" cy="461649"/>
          </a:xfrm>
          <a:solidFill>
            <a:schemeClr val="bg1"/>
          </a:solidFill>
          <a:extLst/>
        </p:spPr>
        <p:txBody>
          <a:bodyPr wrap="square"/>
          <a:lstStyle>
            <a:lvl1pPr algn="ctr">
              <a:defRPr sz="2400"/>
            </a:lvl1pPr>
          </a:lstStyle>
          <a:p>
            <a:pPr lvl="0"/>
            <a:r>
              <a:rPr lang="ko-KR" altLang="en-US" noProof="0" smtClean="0"/>
              <a:t>마스터 제목 스타일 편집</a:t>
            </a:r>
          </a:p>
        </p:txBody>
      </p:sp>
      <p:sp>
        <p:nvSpPr>
          <p:cNvPr id="942084" name="Rectangle 4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222625" y="2854326"/>
            <a:ext cx="3467100" cy="2060575"/>
          </a:xfrm>
          <a:prstGeom prst="rect">
            <a:avLst/>
          </a:prstGeom>
          <a:noFill/>
          <a:extLst/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marL="0" indent="0" algn="ctr">
              <a:buFont typeface="Wingdings" pitchFamily="2" charset="2"/>
              <a:buNone/>
              <a:defRPr sz="1600" b="1">
                <a:latin typeface="Arial" pitchFamily="34" charset="0"/>
                <a:ea typeface="돋움" pitchFamily="50" charset="-127"/>
              </a:defRPr>
            </a:lvl1pPr>
          </a:lstStyle>
          <a:p>
            <a:pPr lvl="0"/>
            <a:r>
              <a:rPr lang="ko-KR" altLang="en-US" noProof="0" smtClean="0"/>
              <a:t>마스터 부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895526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400">
              <a:solidFill>
                <a:srgbClr val="000000"/>
              </a:solidFill>
              <a:latin typeface="굴림"/>
              <a:ea typeface="굴림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400">
              <a:solidFill>
                <a:srgbClr val="000000"/>
              </a:solidFill>
              <a:latin typeface="굴림"/>
              <a:ea typeface="굴림"/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5E69EB5-6C9E-4DD2-919E-73ED0FA81EDD}" type="slidenum">
              <a:rPr kumimoji="0" lang="en-US" altLang="ko-KR" sz="1400">
                <a:solidFill>
                  <a:srgbClr val="000000"/>
                </a:solidFill>
                <a:latin typeface="굴림"/>
                <a:ea typeface="굴림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altLang="ko-KR" sz="1400">
              <a:solidFill>
                <a:srgbClr val="000000"/>
              </a:solidFill>
              <a:latin typeface="굴림"/>
              <a:ea typeface="굴림"/>
            </a:endParaRPr>
          </a:p>
        </p:txBody>
      </p:sp>
    </p:spTree>
    <p:extLst>
      <p:ext uri="{BB962C8B-B14F-4D97-AF65-F5344CB8AC3E}">
        <p14:creationId xmlns:p14="http://schemas.microsoft.com/office/powerpoint/2010/main" val="1566158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400" dirty="0">
              <a:solidFill>
                <a:srgbClr val="000000"/>
              </a:solidFill>
              <a:latin typeface="굴림"/>
              <a:ea typeface="굴림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400" dirty="0">
              <a:solidFill>
                <a:srgbClr val="000000"/>
              </a:solidFill>
              <a:latin typeface="굴림"/>
              <a:ea typeface="굴림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r" eaLnBrk="0" fontAlgn="auto" latinLnBrk="0" hangingPunct="0">
              <a:spcBef>
                <a:spcPts val="0"/>
              </a:spcBef>
              <a:spcAft>
                <a:spcPts val="0"/>
              </a:spcAft>
              <a:defRPr/>
            </a:pPr>
            <a:fld id="{E3820B41-A3FF-45E7-A3ED-1C447B023DA7}" type="slidenum">
              <a:rPr kumimoji="0" lang="en-US" altLang="ko-KR" sz="1400">
                <a:solidFill>
                  <a:srgbClr val="000000"/>
                </a:solidFill>
                <a:latin typeface="굴림"/>
                <a:ea typeface="굴림"/>
              </a:rPr>
              <a:pPr algn="r" eaLnBrk="0" fontAlgn="auto" latinLnBrk="0" hangingPunct="0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altLang="ko-KR" sz="1400" dirty="0">
              <a:solidFill>
                <a:srgbClr val="000000"/>
              </a:solidFill>
              <a:latin typeface="굴림"/>
              <a:ea typeface="굴림"/>
            </a:endParaRPr>
          </a:p>
        </p:txBody>
      </p:sp>
    </p:spTree>
    <p:extLst>
      <p:ext uri="{BB962C8B-B14F-4D97-AF65-F5344CB8AC3E}">
        <p14:creationId xmlns:p14="http://schemas.microsoft.com/office/powerpoint/2010/main" val="1160617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/>
          <a:lstStyle/>
          <a:p>
            <a:fld id="{0584D5C1-74AF-43EE-8C91-E57EFD18E6C8}" type="datetimeFigureOut">
              <a:rPr lang="ko-KR" altLang="en-US" smtClean="0"/>
              <a:t>2023-09-12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/>
          <a:lstStyle/>
          <a:p>
            <a:fld id="{BEDC541F-9BA3-4127-99C5-72A28415435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3062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8826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95300" y="6356352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srgbClr val="000000">
                  <a:tint val="75000"/>
                </a:srgbClr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84550" y="6356352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srgbClr val="000000">
                  <a:tint val="75000"/>
                </a:srgbClr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099300" y="6356352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CC8BEACA-5DEC-4243-B3AB-B7F9414F126D}" type="slidenum">
              <a:rPr kumimoji="0" lang="ko-KR" altLang="en-US">
                <a:solidFill>
                  <a:srgbClr val="000000">
                    <a:tint val="75000"/>
                  </a:srgbClr>
                </a:solidFill>
                <a:latin typeface="맑은 고딕"/>
                <a:ea typeface="맑은 고딕" panose="020B0503020000020004" pitchFamily="50" charset="-127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srgbClr val="000000">
                  <a:tint val="75000"/>
                </a:srgbClr>
              </a:solidFill>
              <a:latin typeface="맑은 고딕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21188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Relationship Id="rId9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제목 1"/>
          <p:cNvSpPr txBox="1">
            <a:spLocks/>
          </p:cNvSpPr>
          <p:nvPr userDrawn="1"/>
        </p:nvSpPr>
        <p:spPr>
          <a:xfrm>
            <a:off x="195264" y="171451"/>
            <a:ext cx="7410451" cy="346075"/>
          </a:xfrm>
          <a:prstGeom prst="rect">
            <a:avLst/>
          </a:prstGeom>
        </p:spPr>
        <p:txBody>
          <a:bodyPr/>
          <a:lstStyle>
            <a:lvl1pPr algn="l">
              <a:defRPr sz="1800" b="1">
                <a:solidFill>
                  <a:srgbClr val="A9072E"/>
                </a:solidFill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kumimoji="0" lang="ko-KR" altLang="en-US" dirty="0" smtClean="0">
              <a:latin typeface="+mj-lt"/>
              <a:ea typeface="+mj-ea"/>
              <a:cs typeface="+mj-cs"/>
            </a:endParaRPr>
          </a:p>
        </p:txBody>
      </p:sp>
      <p:sp>
        <p:nvSpPr>
          <p:cNvPr id="6" name="슬라이드 번호 개체 틀 1"/>
          <p:cNvSpPr>
            <a:spLocks noGrp="1"/>
          </p:cNvSpPr>
          <p:nvPr userDrawn="1">
            <p:ph type="sldNum" sz="quarter" idx="4"/>
          </p:nvPr>
        </p:nvSpPr>
        <p:spPr>
          <a:xfrm>
            <a:off x="9274177" y="6475415"/>
            <a:ext cx="546100" cy="365125"/>
          </a:xfrm>
          <a:prstGeom prst="rect">
            <a:avLst/>
          </a:prstGeom>
        </p:spPr>
        <p:txBody>
          <a:bodyPr/>
          <a:lstStyle>
            <a:lvl1pPr algn="ctr">
              <a:defRPr sz="1100" b="1">
                <a:solidFill>
                  <a:srgbClr val="FF0066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fld id="{3E2D86E1-85C3-4987-A59E-4B212ECB66E6}" type="slidenum">
              <a:rPr lang="en-US" altLang="ko-KR"/>
              <a:pPr>
                <a:defRPr/>
              </a:pPr>
              <a:t>‹#›</a:t>
            </a:fld>
            <a:endParaRPr lang="ko-KR" altLang="en-US" dirty="0"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2" name="MSIPCMContentMarking" descr="{&quot;HashCode&quot;:-1860332160,&quot;Placement&quot;:&quot;Header&quot;,&quot;Top&quot;:0.0,&quot;Left&quot;:323.954651,&quot;SlideWidth&quot;:780,&quot;SlideHeight&quot;:540}"/>
          <p:cNvSpPr txBox="1"/>
          <p:nvPr userDrawn="1"/>
        </p:nvSpPr>
        <p:spPr>
          <a:xfrm>
            <a:off x="4114224" y="0"/>
            <a:ext cx="1677551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266700" indent="-266700" algn="ctr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C5003D"/>
              </a:buClr>
              <a:buFont typeface="Wingdings" pitchFamily="2" charset="2"/>
              <a:buChar char="u"/>
            </a:pPr>
            <a:r>
              <a:rPr lang="en-US" altLang="ko-KR" sz="1200" b="1" smtClean="0">
                <a:solidFill>
                  <a:srgbClr val="000000"/>
                </a:solidFill>
                <a:latin typeface="Calibri" panose="020F0502020204030204" pitchFamily="34" charset="0"/>
              </a:rPr>
              <a:t>LGE Internal Use Only</a:t>
            </a:r>
            <a:endParaRPr lang="ko-KR" altLang="en-US" sz="12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맑은 고딕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  <a:cs typeface="맑은 고딕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  <a:cs typeface="맑은 고딕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  <a:cs typeface="맑은 고딕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  <a:cs typeface="맑은 고딕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맑은 고딕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맑은 고딕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맑은 고딕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맑은 고딕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맑은 고딕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5252" y="88880"/>
            <a:ext cx="1947937" cy="400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1424" tIns="45712" rIns="91424" bIns="45712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20 Point)</a:t>
            </a:r>
          </a:p>
        </p:txBody>
      </p:sp>
      <p:sp>
        <p:nvSpPr>
          <p:cNvPr id="2" name="MSIPCMContentMarking" descr="{&quot;HashCode&quot;:-1860332160,&quot;Placement&quot;:&quot;Header&quot;,&quot;Top&quot;:0.0,&quot;Left&quot;:323.954651,&quot;SlideWidth&quot;:780,&quot;SlideHeight&quot;:540}"/>
          <p:cNvSpPr txBox="1"/>
          <p:nvPr userDrawn="1"/>
        </p:nvSpPr>
        <p:spPr>
          <a:xfrm>
            <a:off x="4114224" y="0"/>
            <a:ext cx="1677551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ko-KR" sz="1200" smtClean="0">
                <a:solidFill>
                  <a:srgbClr val="000000"/>
                </a:solidFill>
                <a:latin typeface="Calibri" panose="020F0502020204030204" pitchFamily="34" charset="0"/>
              </a:rPr>
              <a:t>LGE Internal Use Only</a:t>
            </a:r>
            <a:endParaRPr lang="ko-KR" altLang="en-US" sz="12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0978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pitchFamily="34" charset="0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pitchFamily="34" charset="0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pitchFamily="34" charset="0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pitchFamily="34" charset="0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pitchFamily="34" charset="0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Arial" pitchFamily="34" charset="0"/>
          <a:ea typeface="+mn-ea"/>
        </a:defRPr>
      </a:lvl2pPr>
      <a:lvl3pPr marL="1141413" indent="-227013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Arial" pitchFamily="34" charset="0"/>
          <a:ea typeface="+mn-ea"/>
        </a:defRPr>
      </a:lvl3pPr>
      <a:lvl4pPr marL="1600200" indent="-230188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Arial" pitchFamily="34" charset="0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Arial" pitchFamily="34" charset="0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14"/>
          <p:cNvSpPr>
            <a:spLocks noChangeShapeType="1"/>
          </p:cNvSpPr>
          <p:nvPr userDrawn="1"/>
        </p:nvSpPr>
        <p:spPr bwMode="auto">
          <a:xfrm>
            <a:off x="0" y="5349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1200">
              <a:solidFill>
                <a:srgbClr val="000000"/>
              </a:solidFill>
              <a:latin typeface="Arial" panose="020B0604020202020204" pitchFamily="34" charset="0"/>
              <a:ea typeface="돋움" panose="020B0600000101010101" pitchFamily="50" charset="-127"/>
            </a:endParaRPr>
          </a:p>
        </p:txBody>
      </p:sp>
      <p:sp>
        <p:nvSpPr>
          <p:cNvPr id="2" name="MSIPCMContentMarking" descr="{&quot;HashCode&quot;:-1860332160,&quot;Placement&quot;:&quot;Header&quot;,&quot;Top&quot;:0.0,&quot;Left&quot;:323.954651,&quot;SlideWidth&quot;:780,&quot;SlideHeight&quot;:540}"/>
          <p:cNvSpPr txBox="1"/>
          <p:nvPr userDrawn="1"/>
        </p:nvSpPr>
        <p:spPr>
          <a:xfrm>
            <a:off x="4114224" y="0"/>
            <a:ext cx="1677551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ko-KR" sz="1200" smtClean="0">
                <a:solidFill>
                  <a:srgbClr val="000000"/>
                </a:solidFill>
                <a:latin typeface="Calibri" panose="020F0502020204030204" pitchFamily="34" charset="0"/>
              </a:rPr>
              <a:t>LGE Internal Use Only</a:t>
            </a:r>
            <a:endParaRPr lang="ko-KR" altLang="en-US" sz="12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184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Arial" charset="0"/>
          <a:ea typeface="돋움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Arial" charset="0"/>
          <a:ea typeface="돋움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Arial" charset="0"/>
          <a:ea typeface="돋움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Arial" charset="0"/>
          <a:ea typeface="돋움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Arial" charset="0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Arial" charset="0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Arial" charset="0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Arial" charset="0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14"/>
          <p:cNvSpPr>
            <a:spLocks noChangeShapeType="1"/>
          </p:cNvSpPr>
          <p:nvPr userDrawn="1"/>
        </p:nvSpPr>
        <p:spPr bwMode="auto">
          <a:xfrm>
            <a:off x="0" y="5349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1200">
              <a:solidFill>
                <a:srgbClr val="000000"/>
              </a:solidFill>
              <a:latin typeface="Arial" panose="020B0604020202020204" pitchFamily="34" charset="0"/>
              <a:ea typeface="돋움" panose="020B0600000101010101" pitchFamily="50" charset="-127"/>
            </a:endParaRPr>
          </a:p>
        </p:txBody>
      </p:sp>
      <p:sp>
        <p:nvSpPr>
          <p:cNvPr id="2" name="MSIPCMContentMarking" descr="{&quot;HashCode&quot;:-1860332160,&quot;Placement&quot;:&quot;Header&quot;,&quot;Top&quot;:0.0,&quot;Left&quot;:323.954651,&quot;SlideWidth&quot;:780,&quot;SlideHeight&quot;:540}"/>
          <p:cNvSpPr txBox="1"/>
          <p:nvPr userDrawn="1"/>
        </p:nvSpPr>
        <p:spPr>
          <a:xfrm>
            <a:off x="4114224" y="0"/>
            <a:ext cx="1677551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ko-KR" sz="1200" smtClean="0">
                <a:solidFill>
                  <a:srgbClr val="000000"/>
                </a:solidFill>
                <a:latin typeface="Calibri" panose="020F0502020204030204" pitchFamily="34" charset="0"/>
              </a:rPr>
              <a:t>LGE Internal Use Only</a:t>
            </a:r>
            <a:endParaRPr lang="ko-KR" altLang="en-US" sz="12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979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95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Arial" charset="0"/>
          <a:ea typeface="돋움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Arial" charset="0"/>
          <a:ea typeface="돋움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Arial" charset="0"/>
          <a:ea typeface="돋움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Arial" charset="0"/>
          <a:ea typeface="돋움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Arial" charset="0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Arial" charset="0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Arial" charset="0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Arial" charset="0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-1860332160,&quot;Placement&quot;:&quot;Header&quot;,&quot;Top&quot;:0.0,&quot;Left&quot;:323.954651,&quot;SlideWidth&quot;:780,&quot;SlideHeight&quot;:540}"/>
          <p:cNvSpPr txBox="1"/>
          <p:nvPr userDrawn="1"/>
        </p:nvSpPr>
        <p:spPr>
          <a:xfrm>
            <a:off x="4114224" y="0"/>
            <a:ext cx="1677551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ko-KR" sz="1200" smtClean="0">
                <a:solidFill>
                  <a:srgbClr val="000000"/>
                </a:solidFill>
                <a:latin typeface="Calibri" panose="020F0502020204030204" pitchFamily="34" charset="0"/>
                <a:ea typeface="LG스마트체 Regular" panose="020B0600000101010101" pitchFamily="50" charset="-127"/>
              </a:rPr>
              <a:t>LGE Internal Use Only</a:t>
            </a:r>
            <a:endParaRPr lang="ko-KR" altLang="en-US" sz="1200" dirty="0" err="1" smtClean="0">
              <a:solidFill>
                <a:srgbClr val="000000"/>
              </a:solidFill>
              <a:latin typeface="Calibri" panose="020F0502020204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88623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-1860332160,&quot;Placement&quot;:&quot;Header&quot;,&quot;Top&quot;:0.0,&quot;Left&quot;:323.954651,&quot;SlideWidth&quot;:780,&quot;SlideHeight&quot;:540}"/>
          <p:cNvSpPr txBox="1"/>
          <p:nvPr userDrawn="1"/>
        </p:nvSpPr>
        <p:spPr>
          <a:xfrm>
            <a:off x="4114224" y="0"/>
            <a:ext cx="1677551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smtClean="0">
                <a:solidFill>
                  <a:srgbClr val="000000"/>
                </a:solidFill>
                <a:latin typeface="Calibri" panose="020F0502020204030204" pitchFamily="34" charset="0"/>
                <a:ea typeface="LG스마트체 Regular" panose="020B0600000101010101" pitchFamily="50" charset="-127"/>
              </a:rPr>
              <a:t>LGE Internal Use Only</a:t>
            </a:r>
            <a:endParaRPr kumimoji="0" lang="ko-KR" altLang="en-US" sz="1200" dirty="0" smtClean="0">
              <a:solidFill>
                <a:srgbClr val="000000"/>
              </a:solidFill>
              <a:latin typeface="Calibri" panose="020F0502020204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21768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5.xml"/><Relationship Id="rId21" Type="http://schemas.openxmlformats.org/officeDocument/2006/relationships/image" Target="../media/image6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slideLayout" Target="../slideLayouts/slideLayout10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oleObject" Target="../embeddings/oleObject2.bin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1496616" y="1257688"/>
            <a:ext cx="6912768" cy="72008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dirty="0">
                <a:solidFill>
                  <a:schemeClr val="tx1"/>
                </a:solidFill>
                <a:latin typeface="Arial" panose="020B060402020202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2400" dirty="0">
                <a:solidFill>
                  <a:schemeClr val="tx1"/>
                </a:solidFill>
                <a:latin typeface="Arial" panose="020B060402020202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AI(</a:t>
            </a:r>
            <a:r>
              <a:rPr lang="ko-KR" altLang="en-US" sz="2400" dirty="0">
                <a:solidFill>
                  <a:schemeClr val="tx1"/>
                </a:solidFill>
                <a:latin typeface="Arial" panose="020B060402020202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이미지분석</a:t>
            </a:r>
            <a:r>
              <a:rPr lang="en-US" altLang="ko-KR" sz="2400" dirty="0">
                <a:solidFill>
                  <a:schemeClr val="tx1"/>
                </a:solidFill>
                <a:latin typeface="Arial" panose="020B060402020202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)</a:t>
            </a:r>
            <a:r>
              <a:rPr lang="ko-KR" altLang="en-US" sz="2400" dirty="0">
                <a:solidFill>
                  <a:schemeClr val="tx1"/>
                </a:solidFill>
                <a:latin typeface="Arial" panose="020B060402020202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을 이용한 모듈 배면 부자재 </a:t>
            </a:r>
            <a:r>
              <a:rPr lang="ko-KR" altLang="en-US" sz="2400" dirty="0" smtClean="0">
                <a:solidFill>
                  <a:schemeClr val="tx1"/>
                </a:solidFill>
                <a:latin typeface="Arial" panose="020B060402020202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점검</a:t>
            </a:r>
            <a:endParaRPr lang="en-US" altLang="ko-KR" sz="2400" dirty="0" smtClean="0">
              <a:solidFill>
                <a:schemeClr val="tx1"/>
              </a:solidFill>
              <a:latin typeface="Arial" panose="020B060402020202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algn="ctr"/>
            <a:r>
              <a:rPr lang="en-US" altLang="ko-KR" sz="2400" dirty="0" smtClean="0">
                <a:solidFill>
                  <a:srgbClr val="FF0000"/>
                </a:solidFill>
                <a:latin typeface="Arial" panose="020B060402020202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Mo</a:t>
            </a:r>
            <a:r>
              <a:rPr lang="en-US" altLang="ko-KR" sz="2400" dirty="0" smtClean="0">
                <a:solidFill>
                  <a:schemeClr val="tx1"/>
                </a:solidFill>
                <a:latin typeface="Arial" panose="020B060402020202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dule </a:t>
            </a:r>
            <a:r>
              <a:rPr lang="en-US" altLang="ko-KR" sz="2400" dirty="0" smtClean="0">
                <a:solidFill>
                  <a:srgbClr val="FF0000"/>
                </a:solidFill>
                <a:latin typeface="Arial" panose="020B060402020202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Ba</a:t>
            </a:r>
            <a:r>
              <a:rPr lang="en-US" altLang="ko-KR" sz="2400" dirty="0" smtClean="0">
                <a:solidFill>
                  <a:schemeClr val="tx1"/>
                </a:solidFill>
                <a:latin typeface="Arial" panose="020B060402020202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ck-side </a:t>
            </a:r>
            <a:r>
              <a:rPr lang="en-US" altLang="ko-KR" sz="2400" dirty="0" err="1" smtClean="0">
                <a:solidFill>
                  <a:srgbClr val="FF0000"/>
                </a:solidFill>
                <a:latin typeface="Arial" panose="020B060402020202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Su</a:t>
            </a:r>
            <a:r>
              <a:rPr lang="en-US" altLang="ko-KR" sz="2400" dirty="0" err="1" smtClean="0">
                <a:solidFill>
                  <a:schemeClr val="tx1"/>
                </a:solidFill>
                <a:latin typeface="Arial" panose="020B060402020202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bmaterial</a:t>
            </a:r>
            <a:r>
              <a:rPr lang="en-US" altLang="ko-KR" sz="2400" dirty="0" smtClean="0">
                <a:solidFill>
                  <a:schemeClr val="tx1"/>
                </a:solidFill>
                <a:latin typeface="Arial" panose="020B060402020202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Check by AI</a:t>
            </a:r>
            <a:r>
              <a:rPr lang="ko-KR" altLang="en-US" sz="2400" dirty="0" smtClean="0">
                <a:solidFill>
                  <a:schemeClr val="tx1"/>
                </a:solidFill>
                <a:latin typeface="Arial" panose="020B060402020202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endParaRPr lang="ko-KR" altLang="en-US" sz="2400" dirty="0">
              <a:solidFill>
                <a:schemeClr val="tx1"/>
              </a:solidFill>
              <a:latin typeface="Arial" panose="020B060402020202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3512840" y="5722184"/>
            <a:ext cx="2880320" cy="36004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Arial" panose="020B060402020202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UHD1 Project</a:t>
            </a:r>
            <a:endParaRPr lang="ko-KR" altLang="en-US" dirty="0">
              <a:solidFill>
                <a:schemeClr val="tx1"/>
              </a:solidFill>
              <a:latin typeface="Arial" panose="020B060402020202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8" name="모서리가 둥근 직사각형 7"/>
          <p:cNvSpPr/>
          <p:nvPr/>
        </p:nvSpPr>
        <p:spPr>
          <a:xfrm>
            <a:off x="3224808" y="2538248"/>
            <a:ext cx="3312368" cy="2266787"/>
          </a:xfrm>
          <a:prstGeom prst="roundRect">
            <a:avLst>
              <a:gd name="adj" fmla="val 6494"/>
            </a:avLst>
          </a:prstGeom>
          <a:solidFill>
            <a:schemeClr val="bg1"/>
          </a:solidFill>
          <a:ln w="317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행 과제 요</a:t>
            </a:r>
            <a:r>
              <a:rPr lang="ko-KR" altLang="en-US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약</a:t>
            </a:r>
            <a:endParaRPr lang="en-US" altLang="ko-KR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실행 과제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mpact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제 실행 기획</a:t>
            </a:r>
            <a:endParaRPr lang="en-US" altLang="ko-KR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제 수행 절차</a:t>
            </a:r>
            <a:endParaRPr lang="en-US" altLang="ko-KR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성공 및 변화 관리</a:t>
            </a:r>
            <a:endParaRPr lang="ko-KR" altLang="en-US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모서리가 둥근 직사각형 11"/>
          <p:cNvSpPr/>
          <p:nvPr/>
        </p:nvSpPr>
        <p:spPr>
          <a:xfrm>
            <a:off x="3512840" y="5290136"/>
            <a:ext cx="2880320" cy="28803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023. 09. 13</a:t>
            </a:r>
            <a:endParaRPr lang="ko-KR" altLang="en-US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3" name="모서리가 둥근 직사각형 12"/>
          <p:cNvSpPr/>
          <p:nvPr/>
        </p:nvSpPr>
        <p:spPr>
          <a:xfrm>
            <a:off x="3512840" y="6244149"/>
            <a:ext cx="2880320" cy="28803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연구원</a:t>
            </a:r>
            <a:endParaRPr lang="en-US" altLang="ko-KR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연구원</a:t>
            </a:r>
            <a:endParaRPr lang="ko-KR" altLang="en-US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701789" y="403601"/>
            <a:ext cx="26260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32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(t)-BA-SU</a:t>
            </a:r>
          </a:p>
        </p:txBody>
      </p:sp>
    </p:spTree>
    <p:extLst>
      <p:ext uri="{BB962C8B-B14F-4D97-AF65-F5344CB8AC3E}">
        <p14:creationId xmlns:p14="http://schemas.microsoft.com/office/powerpoint/2010/main" val="2036256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582712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2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실행 과제 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Impact_</a:t>
            </a:r>
            <a:r>
              <a:rPr lang="ko-KR" altLang="en-US" sz="1600" b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난이도</a:t>
            </a:r>
            <a:endParaRPr lang="ko-KR" altLang="en-US" sz="16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6" name="모서리가 둥근 직사각형 55">
            <a:extLst>
              <a:ext uri="{FF2B5EF4-FFF2-40B4-BE49-F238E27FC236}">
                <a16:creationId xmlns:a16="http://schemas.microsoft.com/office/drawing/2014/main" xmlns="" id="{07ECA32F-981B-4292-B81C-FF97D176B5E8}"/>
              </a:ext>
            </a:extLst>
          </p:cNvPr>
          <p:cNvSpPr/>
          <p:nvPr/>
        </p:nvSpPr>
        <p:spPr>
          <a:xfrm>
            <a:off x="416496" y="2153549"/>
            <a:ext cx="480778" cy="162000"/>
          </a:xfrm>
          <a:prstGeom prst="roundRect">
            <a:avLst/>
          </a:prstGeom>
          <a:solidFill>
            <a:srgbClr val="C2147D"/>
          </a:solidFill>
          <a:ln w="6350" cap="flat" cmpd="sng" algn="ctr">
            <a:noFill/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b="1" kern="0" dirty="0">
                <a:solidFill>
                  <a:prstClr val="white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itchFamily="2" charset="2"/>
              </a:rPr>
              <a:t>본부 최초</a:t>
            </a:r>
            <a:endParaRPr kumimoji="1" lang="ko-KR" altLang="en-US" sz="9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sym typeface="Wingdings" pitchFamily="2" charset="2"/>
            </a:endParaRPr>
          </a:p>
        </p:txBody>
      </p:sp>
      <p:sp>
        <p:nvSpPr>
          <p:cNvPr id="8" name="Text Box 57">
            <a:extLst>
              <a:ext uri="{FF2B5EF4-FFF2-40B4-BE49-F238E27FC236}">
                <a16:creationId xmlns:a16="http://schemas.microsoft.com/office/drawing/2014/main" xmlns="" id="{F2C248D5-204B-4928-9129-06FD0EE230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8588" y="695479"/>
            <a:ext cx="9577064" cy="103111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ts val="2500"/>
              </a:lnSpc>
              <a:spcBef>
                <a:spcPct val="0"/>
              </a:spcBef>
              <a:buFontTx/>
              <a:buNone/>
            </a:pPr>
            <a:r>
              <a:rPr lang="ko-KR" altLang="en-US" sz="18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수년간의 </a:t>
            </a:r>
            <a:r>
              <a:rPr lang="en-US" altLang="ko-KR" sz="18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DX</a:t>
            </a:r>
            <a:r>
              <a:rPr lang="ko-KR" altLang="en-US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활동으로 자사 </a:t>
            </a:r>
            <a:r>
              <a:rPr lang="en-US" altLang="ko-KR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DX</a:t>
            </a:r>
            <a:r>
              <a:rPr lang="ko-KR" altLang="en-US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수준은 </a:t>
            </a:r>
            <a:r>
              <a:rPr lang="ko-KR" altLang="en-US" sz="1800" b="1">
                <a:solidFill>
                  <a:schemeClr val="tx1"/>
                </a:solidFill>
                <a:latin typeface="Arial Narrow"/>
                <a:ea typeface="LG스마트체 Regular"/>
              </a:rPr>
              <a:t>상승했으나 </a:t>
            </a:r>
            <a:r>
              <a:rPr lang="ko-KR" altLang="en-US" sz="1800" b="1" smtClean="0">
                <a:solidFill>
                  <a:schemeClr val="tx1"/>
                </a:solidFill>
                <a:latin typeface="Arial Narrow"/>
                <a:ea typeface="LG스마트체 Regular"/>
              </a:rPr>
              <a:t>자사와 협업중인 </a:t>
            </a:r>
            <a:r>
              <a:rPr lang="en-US" altLang="ko-KR" sz="18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BM</a:t>
            </a:r>
            <a:r>
              <a:rPr lang="ko-KR" altLang="en-US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사의 </a:t>
            </a:r>
            <a:r>
              <a:rPr lang="en-US" altLang="ko-KR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DX</a:t>
            </a:r>
            <a:r>
              <a:rPr lang="ko-KR" altLang="en-US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수준은 아직 미미함</a:t>
            </a:r>
            <a:endParaRPr lang="en-US" altLang="ko-KR" sz="1800" b="1" dirty="0">
              <a:solidFill>
                <a:schemeClr val="tx1"/>
              </a:solidFill>
              <a:latin typeface="Arial Narrow"/>
              <a:ea typeface="LG스마트체 Regular"/>
            </a:endParaRPr>
          </a:p>
          <a:p>
            <a:pPr eaLnBrk="1" hangingPunct="1">
              <a:lnSpc>
                <a:spcPts val="2500"/>
              </a:lnSpc>
              <a:spcBef>
                <a:spcPct val="0"/>
              </a:spcBef>
              <a:buFontTx/>
              <a:buNone/>
            </a:pPr>
            <a:r>
              <a:rPr lang="ko-KR" altLang="en-US" sz="18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→ 자사 </a:t>
            </a:r>
            <a:r>
              <a:rPr lang="ko-KR" altLang="en-US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단독이 아닌 </a:t>
            </a:r>
            <a:r>
              <a:rPr lang="ko-KR" altLang="en-US" sz="1800" b="1" dirty="0" err="1">
                <a:solidFill>
                  <a:schemeClr val="tx1"/>
                </a:solidFill>
                <a:latin typeface="Arial Narrow"/>
                <a:ea typeface="LG스마트체 Regular"/>
              </a:rPr>
              <a:t>협력사</a:t>
            </a:r>
            <a:r>
              <a:rPr lang="en-US" altLang="ko-KR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(</a:t>
            </a:r>
            <a:r>
              <a:rPr lang="ko-KR" altLang="en-US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희성전자</a:t>
            </a:r>
            <a:r>
              <a:rPr lang="en-US" altLang="ko-KR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, </a:t>
            </a:r>
            <a:r>
              <a:rPr lang="ko-KR" altLang="en-US" sz="1800" b="1" dirty="0" err="1">
                <a:solidFill>
                  <a:schemeClr val="tx1"/>
                </a:solidFill>
                <a:latin typeface="Arial Narrow"/>
                <a:ea typeface="LG스마트체 Regular"/>
              </a:rPr>
              <a:t>뉴옵틱스</a:t>
            </a:r>
            <a:r>
              <a:rPr lang="en-US" altLang="ko-KR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)</a:t>
            </a:r>
            <a:r>
              <a:rPr lang="ko-KR" altLang="en-US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와의 협업으로 </a:t>
            </a:r>
            <a:r>
              <a:rPr lang="en-US" altLang="ko-KR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System </a:t>
            </a:r>
            <a:r>
              <a:rPr lang="ko-KR" altLang="en-US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구축 진행하며</a:t>
            </a:r>
            <a:endParaRPr lang="en-US" altLang="ko-KR" sz="1800" b="1" dirty="0">
              <a:solidFill>
                <a:schemeClr val="tx1"/>
              </a:solidFill>
              <a:latin typeface="Arial Narrow"/>
              <a:ea typeface="LG스마트체 Regular"/>
            </a:endParaRPr>
          </a:p>
          <a:p>
            <a:pPr eaLnBrk="1" hangingPunct="1">
              <a:lnSpc>
                <a:spcPts val="2500"/>
              </a:lnSpc>
              <a:spcBef>
                <a:spcPct val="0"/>
              </a:spcBef>
              <a:buFontTx/>
              <a:buNone/>
            </a:pPr>
            <a:r>
              <a:rPr lang="ko-KR" altLang="en-US" sz="18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    협력사의 </a:t>
            </a:r>
            <a:r>
              <a:rPr lang="ko-KR" altLang="en-US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양질의 </a:t>
            </a:r>
            <a:r>
              <a:rPr lang="en-US" altLang="ko-KR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Data </a:t>
            </a:r>
            <a:r>
              <a:rPr lang="ko-KR" altLang="en-US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수집과 </a:t>
            </a:r>
            <a:r>
              <a:rPr lang="en-US" altLang="ko-KR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LGE</a:t>
            </a:r>
            <a:r>
              <a:rPr lang="ko-KR" altLang="en-US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의 분석 노하우가 필요한 난이도가 높은 과제임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5150805" y="2483500"/>
            <a:ext cx="4240443" cy="613905"/>
            <a:chOff x="5105833" y="2409841"/>
            <a:chExt cx="4945985" cy="716048"/>
          </a:xfrm>
        </p:grpSpPr>
        <p:pic>
          <p:nvPicPr>
            <p:cNvPr id="13314" name="Picture 2" descr="주)뉴옵틱스 2023년 기업정보 | 사원수, 회사소개, 근무환경, 복리후생 등 - 사람인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12" r="2571"/>
            <a:stretch/>
          </p:blipFill>
          <p:spPr bwMode="auto">
            <a:xfrm>
              <a:off x="7088849" y="2409841"/>
              <a:ext cx="2962969" cy="716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16" name="Picture 4" descr="단독] 국세청, 구본능 회장 탈세 혐의 벗자 희성전자 세무조사 &lt; 인사이드 &lt; 기업 &lt; 뉴스 &lt; 기사본문 - 미래경제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150" r="6442" b="23536"/>
            <a:stretch/>
          </p:blipFill>
          <p:spPr bwMode="auto">
            <a:xfrm>
              <a:off x="5105833" y="2424752"/>
              <a:ext cx="1954343" cy="686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Text Box 57">
            <a:extLst>
              <a:ext uri="{FF2B5EF4-FFF2-40B4-BE49-F238E27FC236}">
                <a16:creationId xmlns:a16="http://schemas.microsoft.com/office/drawing/2014/main" xmlns="" id="{F2C248D5-204B-4928-9129-06FD0EE230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935" y="2379418"/>
            <a:ext cx="4032448" cy="5847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-.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업체 자체의 모듈 판정 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Data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구축</a:t>
            </a:r>
            <a:endParaRPr lang="en-US" altLang="ko-KR" sz="1600" dirty="0" smtClean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-.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구축된 데이터를 기반으로 판정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System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수립</a:t>
            </a:r>
            <a:endParaRPr lang="ko-KR" altLang="en-US" sz="16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" name="모서리가 둥근 직사각형 9"/>
          <p:cNvSpPr/>
          <p:nvPr/>
        </p:nvSpPr>
        <p:spPr>
          <a:xfrm>
            <a:off x="1158098" y="4948221"/>
            <a:ext cx="2685402" cy="1373117"/>
          </a:xfrm>
          <a:prstGeom prst="roundRect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의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필요성에 대한 인지 부족</a:t>
            </a:r>
            <a:endParaRPr lang="ko-KR" altLang="en-US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4674953" y="4948221"/>
            <a:ext cx="2685402" cy="1373117"/>
          </a:xfrm>
          <a:prstGeom prst="roundRect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미지 분석을 통해</a:t>
            </a:r>
            <a:endParaRPr lang="en-US" altLang="ko-KR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량을 검출하는 기술</a:t>
            </a:r>
            <a:endParaRPr lang="en-US" altLang="ko-KR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자체의 난이도 존재</a:t>
            </a:r>
            <a:endParaRPr lang="ko-KR" altLang="en-US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0" name="Text Box 57">
            <a:extLst>
              <a:ext uri="{FF2B5EF4-FFF2-40B4-BE49-F238E27FC236}">
                <a16:creationId xmlns:a16="http://schemas.microsoft.com/office/drawing/2014/main" xmlns="" id="{F2C248D5-204B-4928-9129-06FD0EE230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935" y="3593709"/>
            <a:ext cx="6552728" cy="5847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-.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모듈의 양불 판정에 대한 이미지를 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Data Base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화 하여 보관</a:t>
            </a:r>
            <a:endParaRPr lang="en-US" altLang="ko-KR" sz="1600" dirty="0" smtClean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-.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수많은 모델의 이미지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Data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를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Data Lake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에 보관하기 위한 서버 구축</a:t>
            </a:r>
            <a:endParaRPr lang="ko-KR" altLang="en-US" sz="16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1" name="모서리가 둥근 직사각형 55">
            <a:extLst>
              <a:ext uri="{FF2B5EF4-FFF2-40B4-BE49-F238E27FC236}">
                <a16:creationId xmlns:a16="http://schemas.microsoft.com/office/drawing/2014/main" xmlns="" id="{07ECA32F-981B-4292-B81C-FF97D176B5E8}"/>
              </a:ext>
            </a:extLst>
          </p:cNvPr>
          <p:cNvSpPr/>
          <p:nvPr/>
        </p:nvSpPr>
        <p:spPr>
          <a:xfrm>
            <a:off x="416496" y="3403134"/>
            <a:ext cx="480778" cy="162000"/>
          </a:xfrm>
          <a:prstGeom prst="roundRect">
            <a:avLst/>
          </a:prstGeom>
          <a:solidFill>
            <a:srgbClr val="C2147D"/>
          </a:solidFill>
          <a:ln w="6350" cap="flat" cmpd="sng" algn="ctr">
            <a:noFill/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00" b="1" kern="0" dirty="0">
                <a:solidFill>
                  <a:prstClr val="white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itchFamily="2" charset="2"/>
              </a:rPr>
              <a:t>본부 최초</a:t>
            </a:r>
            <a:endParaRPr kumimoji="1" lang="ko-KR" altLang="en-US" sz="9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sym typeface="Wingdings" pitchFamily="2" charset="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0A6C2689-C93C-42AB-8FE8-08076FAF1FC0}"/>
              </a:ext>
            </a:extLst>
          </p:cNvPr>
          <p:cNvSpPr txBox="1"/>
          <p:nvPr/>
        </p:nvSpPr>
        <p:spPr bwMode="auto">
          <a:xfrm>
            <a:off x="958651" y="2041353"/>
            <a:ext cx="6539011" cy="3600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rtlCol="0">
            <a:spAutoFit/>
          </a:bodyPr>
          <a:lstStyle>
            <a:defPPr>
              <a:defRPr lang="ko-KR"/>
            </a:defPPr>
            <a:lvl1pPr marL="176213" indent="-176213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  <a:defRPr kumimoji="1" sz="1200"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ko-KR" altLang="en-US" sz="1800" b="1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 </a:t>
            </a:r>
            <a:r>
              <a:rPr lang="en-US" altLang="ko-KR" sz="1800" b="1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BM</a:t>
            </a:r>
            <a:r>
              <a:rPr lang="ko-KR" altLang="en-US" sz="1800" b="1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사와의 협업을 통한 모듈 불량을 판정하는 시스템 최초 개발</a:t>
            </a:r>
            <a:endParaRPr lang="en-US" altLang="ko-KR" sz="1800" b="1" dirty="0">
              <a:solidFill>
                <a:srgbClr val="000000"/>
              </a:solidFill>
              <a:latin typeface="LG스마트체 Regular" panose="020B0600000101010101" pitchFamily="50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A6C2689-C93C-42AB-8FE8-08076FAF1FC0}"/>
              </a:ext>
            </a:extLst>
          </p:cNvPr>
          <p:cNvSpPr txBox="1"/>
          <p:nvPr/>
        </p:nvSpPr>
        <p:spPr bwMode="auto">
          <a:xfrm>
            <a:off x="958652" y="3294988"/>
            <a:ext cx="5760640" cy="3600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rtlCol="0">
            <a:spAutoFit/>
          </a:bodyPr>
          <a:lstStyle>
            <a:defPPr>
              <a:defRPr lang="ko-KR"/>
            </a:defPPr>
            <a:lvl1pPr marL="176213" indent="-176213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  <a:defRPr kumimoji="1" sz="1200"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ko-KR" altLang="en-US" sz="1800" b="1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 모듈 양 </a:t>
            </a:r>
            <a:r>
              <a:rPr lang="en-US" altLang="ko-KR" sz="1800" b="1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/ </a:t>
            </a:r>
            <a:r>
              <a:rPr lang="ko-KR" altLang="en-US" sz="1800" b="1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불 판정 이미지의 </a:t>
            </a:r>
            <a:r>
              <a:rPr lang="en-US" altLang="ko-KR" sz="1800" b="1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Data Base </a:t>
            </a:r>
            <a:r>
              <a:rPr lang="ko-KR" altLang="en-US" sz="1800" b="1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최초 개발</a:t>
            </a:r>
            <a:endParaRPr lang="en-US" altLang="ko-KR" sz="1800" b="1" dirty="0">
              <a:solidFill>
                <a:srgbClr val="000000"/>
              </a:solidFill>
              <a:latin typeface="LG스마트체 Regular" panose="020B0600000101010101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449558" y="4437112"/>
            <a:ext cx="4071394" cy="30570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제 수행의 </a:t>
            </a:r>
            <a:r>
              <a:rPr lang="en-US" altLang="ko-KR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Neck Point </a:t>
            </a:r>
            <a:r>
              <a:rPr lang="ko-KR" altLang="en-US" sz="2000" b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존재</a:t>
            </a:r>
            <a:endParaRPr lang="ko-KR" altLang="en-US" sz="20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65645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28588" y="692150"/>
            <a:ext cx="17491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lt;</a:t>
            </a:r>
            <a:r>
              <a:rPr lang="ko-KR" altLang="en-US" sz="2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팀 조직도</a:t>
            </a:r>
            <a:r>
              <a:rPr lang="en-US" altLang="ko-KR" sz="2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</a:t>
            </a:r>
            <a:endParaRPr lang="ko-KR" altLang="en-US" sz="2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31" name="직선 연결선 30">
            <a:extLst>
              <a:ext uri="{FF2B5EF4-FFF2-40B4-BE49-F238E27FC236}">
                <a16:creationId xmlns:a16="http://schemas.microsoft.com/office/drawing/2014/main" xmlns="" id="{1C450891-8360-D5F3-37B3-64F41CD209C9}"/>
              </a:ext>
            </a:extLst>
          </p:cNvPr>
          <p:cNvCxnSpPr/>
          <p:nvPr/>
        </p:nvCxnSpPr>
        <p:spPr>
          <a:xfrm>
            <a:off x="5313200" y="4495214"/>
            <a:ext cx="0" cy="4680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사각형: 둥근 모서리 11">
            <a:extLst>
              <a:ext uri="{FF2B5EF4-FFF2-40B4-BE49-F238E27FC236}">
                <a16:creationId xmlns:a16="http://schemas.microsoft.com/office/drawing/2014/main" xmlns="" id="{136877CA-6FF9-AB30-6F6E-22DC801DC737}"/>
              </a:ext>
            </a:extLst>
          </p:cNvPr>
          <p:cNvSpPr/>
          <p:nvPr/>
        </p:nvSpPr>
        <p:spPr>
          <a:xfrm>
            <a:off x="3873200" y="1185841"/>
            <a:ext cx="2880000" cy="797724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txBody>
          <a:bodyPr wrap="none" lIns="10800" tIns="10800" rIns="10800" bIns="10800" anchor="ctr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ponsor</a:t>
            </a:r>
          </a:p>
          <a:p>
            <a:pPr algn="ctr"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V LCM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디바이스 개발 담당</a:t>
            </a:r>
            <a:endParaRPr lang="en-US" altLang="ko-KR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3" name="사각형: 둥근 모서리 10">
            <a:extLst>
              <a:ext uri="{FF2B5EF4-FFF2-40B4-BE49-F238E27FC236}">
                <a16:creationId xmlns:a16="http://schemas.microsoft.com/office/drawing/2014/main" xmlns="" id="{43C7024B-43D1-144A-5411-45368772EA64}"/>
              </a:ext>
            </a:extLst>
          </p:cNvPr>
          <p:cNvSpPr/>
          <p:nvPr/>
        </p:nvSpPr>
        <p:spPr>
          <a:xfrm>
            <a:off x="560720" y="3587606"/>
            <a:ext cx="1620000" cy="1080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txBody>
          <a:bodyPr wrap="none" lIns="10800" tIns="10800" rIns="10800" bIns="10800">
            <a:no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희성전자</a:t>
            </a:r>
            <a:endParaRPr lang="en-US" altLang="ko-KR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>
              <a:lnSpc>
                <a:spcPct val="120000"/>
              </a:lnSpc>
            </a:pPr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곽성현 팀장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GZ)</a:t>
            </a:r>
            <a:endParaRPr lang="en-US" altLang="ko-KR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>
              <a:lnSpc>
                <a:spcPct val="120000"/>
              </a:lnSpc>
            </a:pP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시영 팀장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IN)</a:t>
            </a:r>
            <a:endParaRPr lang="en-US" altLang="ko-KR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4" name="사각형: 둥근 모서리 10">
            <a:extLst>
              <a:ext uri="{FF2B5EF4-FFF2-40B4-BE49-F238E27FC236}">
                <a16:creationId xmlns:a16="http://schemas.microsoft.com/office/drawing/2014/main" xmlns="" id="{43C7024B-43D1-144A-5411-45368772EA64}"/>
              </a:ext>
            </a:extLst>
          </p:cNvPr>
          <p:cNvSpPr/>
          <p:nvPr/>
        </p:nvSpPr>
        <p:spPr>
          <a:xfrm>
            <a:off x="560720" y="5150816"/>
            <a:ext cx="1620000" cy="900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txBody>
          <a:bodyPr wrap="none" lIns="10800" tIns="10800" rIns="10800" bIns="10800" anchor="ctr">
            <a:no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뉴옵틱스</a:t>
            </a:r>
            <a:endParaRPr lang="en-US" altLang="ko-KR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>
              <a:lnSpc>
                <a:spcPct val="120000"/>
              </a:lnSpc>
            </a:pPr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윤여정 팀장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GZ)</a:t>
            </a:r>
            <a:endParaRPr lang="en-US" altLang="ko-KR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5" name="모서리가 둥근 직사각형 34"/>
          <p:cNvSpPr/>
          <p:nvPr/>
        </p:nvSpPr>
        <p:spPr>
          <a:xfrm>
            <a:off x="308720" y="3214542"/>
            <a:ext cx="2124000" cy="3136318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976221" y="3000964"/>
            <a:ext cx="788999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20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sz="20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</a:t>
            </a:r>
            <a:endParaRPr lang="ko-KR" altLang="en-US" sz="20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4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449662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3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실행 기획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실행 조직 구성</a:t>
            </a:r>
            <a:endParaRPr lang="ko-KR" altLang="en-US" sz="16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9" name="사각형: 둥근 모서리 4">
            <a:extLst>
              <a:ext uri="{FF2B5EF4-FFF2-40B4-BE49-F238E27FC236}">
                <a16:creationId xmlns:a16="http://schemas.microsoft.com/office/drawing/2014/main" xmlns="" id="{835B6AEF-B8A4-5C24-BF30-49436C87A2DA}"/>
              </a:ext>
            </a:extLst>
          </p:cNvPr>
          <p:cNvSpPr/>
          <p:nvPr/>
        </p:nvSpPr>
        <p:spPr>
          <a:xfrm>
            <a:off x="4683200" y="3587606"/>
            <a:ext cx="1260000" cy="900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txBody>
          <a:bodyPr wrap="none" lIns="10800" tIns="10800" rIns="10800" bIns="10800" anchor="ctr">
            <a:no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리더</a:t>
            </a:r>
            <a:endParaRPr lang="en-US" altLang="ko-KR" b="1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>
              <a:lnSpc>
                <a:spcPct val="120000"/>
              </a:lnSpc>
            </a:pPr>
            <a:r>
              <a:rPr lang="ko-KR" altLang="en-US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팀장</a:t>
            </a:r>
            <a:endParaRPr lang="en-US" altLang="ko-KR" b="1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0" name="사각형: 둥근 모서리 6">
            <a:extLst>
              <a:ext uri="{FF2B5EF4-FFF2-40B4-BE49-F238E27FC236}">
                <a16:creationId xmlns:a16="http://schemas.microsoft.com/office/drawing/2014/main" xmlns="" id="{F3497261-9040-E521-3F1E-25DAD94543E3}"/>
              </a:ext>
            </a:extLst>
          </p:cNvPr>
          <p:cNvSpPr/>
          <p:nvPr/>
        </p:nvSpPr>
        <p:spPr>
          <a:xfrm>
            <a:off x="4683200" y="4952398"/>
            <a:ext cx="1260000" cy="900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txBody>
          <a:bodyPr wrap="none" lIns="10800" tIns="10800" rIns="10800" bIns="10800" anchor="ctr">
            <a:no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팀원</a:t>
            </a:r>
            <a:endParaRPr lang="en-US" altLang="ko-KR" b="1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>
              <a:lnSpc>
                <a:spcPct val="120000"/>
              </a:lnSpc>
            </a:pPr>
            <a:r>
              <a:rPr lang="ko-KR" altLang="en-US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선임</a:t>
            </a:r>
            <a:endParaRPr lang="en-US" altLang="ko-KR" b="1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2" name="모서리가 둥근 직사각형 21"/>
          <p:cNvSpPr/>
          <p:nvPr/>
        </p:nvSpPr>
        <p:spPr>
          <a:xfrm>
            <a:off x="4261753" y="3214541"/>
            <a:ext cx="2102894" cy="31363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550812" y="3039193"/>
            <a:ext cx="1524776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ko-KR" altLang="en-US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제 수행 조직</a:t>
            </a:r>
            <a:endParaRPr lang="ko-KR" altLang="en-US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7883601" y="3758572"/>
            <a:ext cx="1260000" cy="2147255"/>
            <a:chOff x="7689304" y="2888154"/>
            <a:chExt cx="1260000" cy="2147255"/>
          </a:xfrm>
        </p:grpSpPr>
        <p:sp>
          <p:nvSpPr>
            <p:cNvPr id="26" name="사각형: 둥근 모서리 6">
              <a:extLst>
                <a:ext uri="{FF2B5EF4-FFF2-40B4-BE49-F238E27FC236}">
                  <a16:creationId xmlns:a16="http://schemas.microsoft.com/office/drawing/2014/main" xmlns="" id="{F3497261-9040-E521-3F1E-25DAD94543E3}"/>
                </a:ext>
              </a:extLst>
            </p:cNvPr>
            <p:cNvSpPr/>
            <p:nvPr/>
          </p:nvSpPr>
          <p:spPr>
            <a:xfrm>
              <a:off x="7689304" y="2888154"/>
              <a:ext cx="1260000" cy="900000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lIns="10800" tIns="10800" rIns="10800" bIns="10800" anchor="ctr">
              <a:noAutofit/>
            </a:bodyPr>
            <a:lstStyle/>
            <a:p>
              <a:pPr algn="ctr">
                <a:lnSpc>
                  <a:spcPct val="120000"/>
                </a:lnSpc>
              </a:pPr>
              <a:r>
                <a:rPr lang="ko-KR" altLang="en-US" dirty="0" smtClean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담당 </a:t>
              </a:r>
              <a:r>
                <a:rPr lang="en-US" altLang="ko-KR" dirty="0" smtClean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DX</a:t>
              </a:r>
              <a:r>
                <a:rPr lang="ko-KR" altLang="en-US" dirty="0" smtClean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간사</a:t>
              </a:r>
              <a:endParaRPr lang="en-US" altLang="ko-KR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  <a:p>
              <a:pPr algn="ctr">
                <a:lnSpc>
                  <a:spcPct val="120000"/>
                </a:lnSpc>
              </a:pPr>
              <a:r>
                <a:rPr lang="ko-KR" altLang="en-US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김동원 책임</a:t>
              </a:r>
              <a:endParaRPr lang="en-US" altLang="ko-KR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27" name="사각형: 둥근 모서리 6">
              <a:extLst>
                <a:ext uri="{FF2B5EF4-FFF2-40B4-BE49-F238E27FC236}">
                  <a16:creationId xmlns:a16="http://schemas.microsoft.com/office/drawing/2014/main" xmlns="" id="{F3497261-9040-E521-3F1E-25DAD94543E3}"/>
                </a:ext>
              </a:extLst>
            </p:cNvPr>
            <p:cNvSpPr/>
            <p:nvPr/>
          </p:nvSpPr>
          <p:spPr>
            <a:xfrm>
              <a:off x="7689304" y="4135409"/>
              <a:ext cx="1260000" cy="900000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lIns="10800" tIns="10800" rIns="10800" bIns="10800" anchor="ctr">
              <a:noAutofit/>
            </a:bodyPr>
            <a:lstStyle/>
            <a:p>
              <a:pPr algn="ctr">
                <a:lnSpc>
                  <a:spcPct val="120000"/>
                </a:lnSpc>
              </a:pPr>
              <a:r>
                <a:rPr lang="ko-KR" altLang="en-US" dirty="0" smtClean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팀 </a:t>
              </a:r>
              <a:r>
                <a:rPr lang="en-US" altLang="ko-KR" dirty="0" smtClean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DX</a:t>
              </a:r>
              <a:r>
                <a:rPr lang="ko-KR" altLang="en-US" dirty="0" smtClean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간사</a:t>
              </a:r>
              <a:endParaRPr lang="en-US" altLang="ko-KR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  <a:p>
              <a:pPr algn="ctr">
                <a:lnSpc>
                  <a:spcPct val="120000"/>
                </a:lnSpc>
              </a:pPr>
              <a:r>
                <a:rPr lang="ko-KR" altLang="en-US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김영대 책임</a:t>
              </a:r>
              <a:endParaRPr lang="en-US" altLang="ko-KR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</p:grpSp>
      <p:grpSp>
        <p:nvGrpSpPr>
          <p:cNvPr id="13" name="그룹 12"/>
          <p:cNvGrpSpPr/>
          <p:nvPr/>
        </p:nvGrpSpPr>
        <p:grpSpPr>
          <a:xfrm>
            <a:off x="6537176" y="4146499"/>
            <a:ext cx="907400" cy="1047045"/>
            <a:chOff x="6983125" y="3864843"/>
            <a:chExt cx="907400" cy="1047045"/>
          </a:xfrm>
        </p:grpSpPr>
        <p:sp>
          <p:nvSpPr>
            <p:cNvPr id="38" name="아래쪽 화살표 37"/>
            <p:cNvSpPr/>
            <p:nvPr/>
          </p:nvSpPr>
          <p:spPr>
            <a:xfrm rot="5400000">
              <a:off x="7194985" y="4216349"/>
              <a:ext cx="483679" cy="907400"/>
            </a:xfrm>
            <a:prstGeom prst="downArrow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6997441" y="3864843"/>
              <a:ext cx="87876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600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DX </a:t>
              </a:r>
              <a:r>
                <a:rPr lang="ko-KR" altLang="en-US" sz="1600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자문</a:t>
              </a:r>
              <a:endParaRPr lang="ko-KR" altLang="en-US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</p:grpSp>
      <p:grpSp>
        <p:nvGrpSpPr>
          <p:cNvPr id="12" name="그룹 11"/>
          <p:cNvGrpSpPr/>
          <p:nvPr/>
        </p:nvGrpSpPr>
        <p:grpSpPr>
          <a:xfrm>
            <a:off x="2599978" y="3566640"/>
            <a:ext cx="1460656" cy="2673007"/>
            <a:chOff x="2698574" y="3284984"/>
            <a:chExt cx="1460656" cy="2673007"/>
          </a:xfrm>
        </p:grpSpPr>
        <p:sp>
          <p:nvSpPr>
            <p:cNvPr id="37" name="아래쪽 화살표 36"/>
            <p:cNvSpPr/>
            <p:nvPr/>
          </p:nvSpPr>
          <p:spPr>
            <a:xfrm rot="5400000">
              <a:off x="3187063" y="4677676"/>
              <a:ext cx="483679" cy="907400"/>
            </a:xfrm>
            <a:prstGeom prst="downArrow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40" name="아래쪽 화살표 39"/>
            <p:cNvSpPr/>
            <p:nvPr/>
          </p:nvSpPr>
          <p:spPr>
            <a:xfrm rot="16200000" flipH="1">
              <a:off x="3187063" y="3721196"/>
              <a:ext cx="483679" cy="907400"/>
            </a:xfrm>
            <a:prstGeom prst="downArrow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698574" y="3284984"/>
              <a:ext cx="146065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1600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Data </a:t>
              </a:r>
              <a:r>
                <a:rPr lang="ko-KR" altLang="en-US" sz="1600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제공</a:t>
              </a:r>
              <a:endPara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  <a:p>
              <a:pPr algn="ctr"/>
              <a:r>
                <a:rPr lang="ko-KR" altLang="en-US" sz="1600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모델 </a:t>
              </a:r>
              <a:r>
                <a:rPr lang="en-US" altLang="ko-KR" sz="1600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Feedback</a:t>
              </a:r>
              <a:endParaRPr lang="ko-KR" altLang="en-US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2942231" y="5373216"/>
              <a:ext cx="973343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1600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판정 모델</a:t>
              </a:r>
              <a:endPara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  <a:p>
              <a:pPr algn="ctr"/>
              <a:r>
                <a:rPr lang="ko-KR" altLang="en-US" sz="1600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제공</a:t>
              </a:r>
              <a:endParaRPr lang="ko-KR" altLang="en-US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14" name="위쪽/아래쪽 화살표 13"/>
          <p:cNvSpPr/>
          <p:nvPr/>
        </p:nvSpPr>
        <p:spPr>
          <a:xfrm>
            <a:off x="4998200" y="2072795"/>
            <a:ext cx="630000" cy="859591"/>
          </a:xfrm>
          <a:prstGeom prst="upDownArrow">
            <a:avLst>
              <a:gd name="adj1" fmla="val 33873"/>
              <a:gd name="adj2" fmla="val 50000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9" name="모서리가 둥근 직사각형 38"/>
          <p:cNvSpPr/>
          <p:nvPr/>
        </p:nvSpPr>
        <p:spPr>
          <a:xfrm>
            <a:off x="7712190" y="3214542"/>
            <a:ext cx="1620000" cy="3136318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905328" y="3025270"/>
            <a:ext cx="1261885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2000" b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</a:t>
            </a:r>
            <a:r>
              <a:rPr lang="ko-KR" altLang="en-US" sz="20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협의체</a:t>
            </a:r>
            <a:endParaRPr lang="ko-KR" altLang="en-US" sz="20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27580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449662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3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실행 기획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실행 조직 구성</a:t>
            </a:r>
            <a:endParaRPr lang="ko-KR" altLang="en-US" sz="16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2"/>
          <a:srcRect r="3451"/>
          <a:stretch/>
        </p:blipFill>
        <p:spPr>
          <a:xfrm>
            <a:off x="1411" y="1229628"/>
            <a:ext cx="9894763" cy="4791660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>
          <a:xfrm>
            <a:off x="4376936" y="3717032"/>
            <a:ext cx="2304256" cy="93610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/>
          <p:cNvSpPr txBox="1"/>
          <p:nvPr/>
        </p:nvSpPr>
        <p:spPr>
          <a:xfrm>
            <a:off x="144126" y="692150"/>
            <a:ext cx="34531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lt;HE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연구소 </a:t>
            </a:r>
            <a:r>
              <a:rPr lang="en-US" altLang="ko-KR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협의체 조직도</a:t>
            </a:r>
            <a:r>
              <a:rPr lang="en-US" altLang="ko-KR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</a:t>
            </a:r>
            <a:endParaRPr lang="ko-KR" altLang="en-US" sz="20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94025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ext Box 2"/>
          <p:cNvSpPr txBox="1">
            <a:spLocks noChangeArrowheads="1"/>
          </p:cNvSpPr>
          <p:nvPr/>
        </p:nvSpPr>
        <p:spPr bwMode="auto">
          <a:xfrm>
            <a:off x="704528" y="3036603"/>
            <a:ext cx="6831998" cy="292387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/>
            <a:r>
              <a:rPr lang="en-US" altLang="ko-KR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1. </a:t>
            </a:r>
            <a:r>
              <a:rPr lang="ko-KR" altLang="en-US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과제 진행 상황의 주 단위 내부 리뷰 실시</a:t>
            </a:r>
            <a:endParaRPr lang="en-US" altLang="ko-KR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eaLnBrk="1" latinLnBrk="1" hangingPunct="1"/>
            <a:r>
              <a:rPr lang="en-US" altLang="ko-KR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  -. </a:t>
            </a:r>
            <a:r>
              <a:rPr lang="ko-KR" altLang="en-US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전반적인 과제 진행 현황 리뷰를 통해 과제의 방향성 점검</a:t>
            </a:r>
            <a:endParaRPr lang="en-US" altLang="ko-KR" sz="14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eaLnBrk="1" latinLnBrk="1" hangingPunct="1"/>
            <a:endParaRPr lang="en-US" altLang="ko-KR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eaLnBrk="1" latinLnBrk="1" hangingPunct="1"/>
            <a:r>
              <a:rPr lang="en-US" altLang="ko-KR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2. BM</a:t>
            </a:r>
            <a:r>
              <a:rPr lang="ko-KR" altLang="en-US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사와의 주기적인 업무 공유 및 </a:t>
            </a:r>
            <a:r>
              <a:rPr lang="en-US" altLang="ko-KR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Feedback </a:t>
            </a:r>
            <a:r>
              <a:rPr lang="ko-KR" altLang="en-US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사항 반영</a:t>
            </a:r>
            <a:endParaRPr lang="en-US" altLang="ko-KR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eaLnBrk="1" latinLnBrk="1" hangingPunct="1"/>
            <a:r>
              <a:rPr lang="en-US" altLang="ko-KR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 -. </a:t>
            </a:r>
            <a:r>
              <a:rPr lang="ko-KR" altLang="en-US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판정 </a:t>
            </a:r>
            <a:r>
              <a:rPr lang="en-US" altLang="ko-KR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System</a:t>
            </a:r>
            <a:r>
              <a:rPr lang="ko-KR" altLang="en-US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을 실질적으로 사용하게 될 </a:t>
            </a:r>
            <a:r>
              <a:rPr lang="en-US" altLang="ko-KR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BM</a:t>
            </a:r>
            <a:r>
              <a:rPr lang="ko-KR" altLang="en-US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사의 요청사항 반영을 통해 </a:t>
            </a:r>
            <a:r>
              <a:rPr lang="en-US" altLang="ko-KR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System </a:t>
            </a:r>
            <a:r>
              <a:rPr lang="ko-KR" altLang="en-US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보완</a:t>
            </a:r>
            <a:endParaRPr lang="en-US" altLang="ko-KR" sz="16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eaLnBrk="1" latinLnBrk="1" hangingPunct="1"/>
            <a:endParaRPr lang="en-US" altLang="ko-KR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eaLnBrk="1" latinLnBrk="1" hangingPunct="1"/>
            <a:r>
              <a:rPr lang="en-US" altLang="ko-KR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3. </a:t>
            </a:r>
            <a:r>
              <a:rPr lang="ko-KR" altLang="en-US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월 단위 팀 내 유사과제 진행 현황 점검</a:t>
            </a:r>
            <a:endParaRPr lang="en-US" altLang="ko-KR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eaLnBrk="1" latinLnBrk="1" hangingPunct="1"/>
            <a:r>
              <a:rPr lang="en-US" altLang="ko-KR" sz="16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-. </a:t>
            </a:r>
            <a:r>
              <a:rPr lang="ko-KR" altLang="en-US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이미지 분석 등 팀 내 유사과제의 분석 기법 점검을 통해 수행 과제의 보완</a:t>
            </a:r>
            <a:endParaRPr lang="en-US" altLang="ko-KR" sz="14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eaLnBrk="1" latinLnBrk="1" hangingPunct="1"/>
            <a:endParaRPr lang="en-US" altLang="ko-KR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eaLnBrk="1" latinLnBrk="1" hangingPunct="1"/>
            <a:r>
              <a:rPr lang="en-US" altLang="ko-KR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4. </a:t>
            </a:r>
            <a:r>
              <a:rPr lang="ko-KR" altLang="en-US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수행 과제의 정기적인 담당 보고</a:t>
            </a:r>
            <a:endParaRPr lang="en-US" altLang="ko-KR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eaLnBrk="1" latinLnBrk="1" hangingPunct="1"/>
            <a:r>
              <a:rPr lang="en-US" altLang="ko-KR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 -. </a:t>
            </a:r>
            <a:r>
              <a:rPr lang="ko-KR" altLang="en-US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과제 진행 현황에 따라 중간보고 </a:t>
            </a:r>
            <a:r>
              <a:rPr lang="ko-KR" altLang="en-US" sz="16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및 완료 보고 진행</a:t>
            </a:r>
            <a:endParaRPr lang="en-US" altLang="ko-KR" sz="14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44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449662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3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실행 기획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실행 조직 구성</a:t>
            </a:r>
            <a:endParaRPr lang="ko-KR" altLang="en-US" sz="16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416496" y="1259766"/>
            <a:ext cx="89475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. </a:t>
            </a:r>
            <a:r>
              <a:rPr lang="ko-KR" altLang="en-US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팀장 </a:t>
            </a:r>
            <a:r>
              <a:rPr lang="en-US" altLang="ko-KR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 모델 구축을 위한 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ta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취합 및 업체와의 협의를 통해 과제 수행에 대한 방향성 제시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. </a:t>
            </a:r>
            <a:r>
              <a:rPr lang="ko-KR" altLang="en-US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 </a:t>
            </a:r>
            <a:r>
              <a:rPr lang="en-US" altLang="ko-KR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듈 불량 판정 모델 제작 및 불량 검출을 위한 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ystem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축</a:t>
            </a:r>
            <a:endParaRPr lang="en-US" altLang="ko-KR" sz="16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38584" y="862633"/>
            <a:ext cx="9225472" cy="39227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팀원의 </a:t>
            </a:r>
            <a:r>
              <a:rPr lang="en-US" altLang="ko-KR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R&amp;R</a:t>
            </a:r>
            <a:endParaRPr lang="ko-KR" altLang="en-US" sz="20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95250" y="2492896"/>
            <a:ext cx="9225472" cy="39227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팀 운영 </a:t>
            </a:r>
            <a:r>
              <a:rPr lang="en-US" altLang="ko-KR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Ground Rules</a:t>
            </a:r>
            <a:endParaRPr lang="ko-KR" altLang="en-US" sz="20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63516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1473499"/>
              </p:ext>
            </p:extLst>
          </p:nvPr>
        </p:nvGraphicFramePr>
        <p:xfrm>
          <a:off x="128464" y="1227666"/>
          <a:ext cx="9685570" cy="5073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0100"/>
                <a:gridCol w="1701997"/>
                <a:gridCol w="1701997"/>
                <a:gridCol w="1701997"/>
                <a:gridCol w="1544749"/>
                <a:gridCol w="2124730"/>
              </a:tblGrid>
              <a:tr h="69542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단계</a:t>
                      </a:r>
                      <a:endParaRPr lang="ko-KR" altLang="en-US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ata</a:t>
                      </a:r>
                      <a:endParaRPr lang="en-US" altLang="ko-KR" baseline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baseline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수집</a:t>
                      </a:r>
                      <a:endParaRPr lang="ko-KR" altLang="en-US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모델 </a:t>
                      </a:r>
                      <a:endParaRPr lang="en-US" altLang="ko-KR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en-US" altLang="ko-KR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차구현</a:t>
                      </a:r>
                      <a:endParaRPr lang="ko-KR" altLang="en-US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초기모델 </a:t>
                      </a:r>
                      <a:endParaRPr lang="en-US" altLang="ko-KR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평가 및 최적화</a:t>
                      </a:r>
                      <a:endParaRPr lang="ko-KR" altLang="en-US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모델 </a:t>
                      </a:r>
                      <a:endParaRPr lang="en-US" altLang="ko-KR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확대검증</a:t>
                      </a:r>
                      <a:endParaRPr lang="ko-KR" altLang="en-US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배포 및 개선</a:t>
                      </a:r>
                      <a:endParaRPr lang="ko-KR" altLang="en-US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1381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일정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~22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9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월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~22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1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월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~23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월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~23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년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9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월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3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 24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 25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년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중장기 계획 설정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2810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목표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Tx/>
                        <a:buNone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양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불 판정을 위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ata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취합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판정 초기 모델 구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모델 개선 및 최적화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5QNED80</a:t>
                      </a:r>
                      <a:endParaRPr lang="en-US" altLang="ko-KR" sz="1200" baseline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Edg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모델 확대 검증활동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75QNED99</a:t>
                      </a:r>
                    </a:p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ini LED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업체 공유 및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Feedback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082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세부 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ctivity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.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업체별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모델별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모듈 사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ata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취합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.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업체별 판정 현황 확인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. Yolo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를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이용한 판정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모델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현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.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초기 모델을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이용한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판정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수준 검증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.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판정 모델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적확도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증대 활동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.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모델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확대전개 검증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.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업체별 적용 가능 여부 논의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.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중장기 계획 수립 및 추진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①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판정 모델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UI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축 및 배포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②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업체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Feedback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반영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모델 수정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③ 투자비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설비 검토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④ 자동화 평가 가능 아이템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 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추가 검토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2809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Outpu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초기 이미지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반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ata Lak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성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양불 판정 초기 모델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판정성능 개선을 위한 이미지 데이터 전처리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판정 모델 코드 개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실제 불량 판정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정확도 검증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M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사 구축 준비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23Y)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시스템 및 설비 구축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24Y)</a:t>
                      </a:r>
                    </a:p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Global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확대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25Y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52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847207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3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실행 기획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실행 절차 </a:t>
            </a:r>
            <a:r>
              <a:rPr lang="en-US" altLang="ko-KR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Tailoring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8680" y="704362"/>
            <a:ext cx="47275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rial Narrow"/>
                <a:ea typeface="LG스마트체 Regular"/>
              </a:rPr>
              <a:t>실행 과제의 </a:t>
            </a:r>
            <a:r>
              <a:rPr lang="en-US" altLang="ko-KR" b="1" dirty="0">
                <a:latin typeface="Arial Narrow"/>
                <a:ea typeface="LG스마트체 Regular"/>
              </a:rPr>
              <a:t>Process </a:t>
            </a:r>
            <a:r>
              <a:rPr lang="ko-KR" altLang="en-US" b="1" dirty="0">
                <a:latin typeface="Arial Narrow"/>
                <a:ea typeface="LG스마트체 Regular"/>
              </a:rPr>
              <a:t>정의 및 단계별 세부항목 정의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20875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직사각형 11"/>
          <p:cNvSpPr/>
          <p:nvPr/>
        </p:nvSpPr>
        <p:spPr>
          <a:xfrm>
            <a:off x="128464" y="2135749"/>
            <a:ext cx="1476685" cy="2711558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이미지 분석을</a:t>
            </a:r>
            <a:endParaRPr lang="en-US" altLang="ko-KR" sz="14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/>
            <a:r>
              <a:rPr lang="ko-KR" altLang="en-US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이용한 </a:t>
            </a:r>
            <a:endParaRPr lang="en-US" altLang="ko-KR" sz="14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/>
            <a:r>
              <a:rPr lang="ko-KR" altLang="en-US" sz="14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듈 </a:t>
            </a:r>
            <a:r>
              <a:rPr lang="ko-KR" altLang="en-US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배면 부자재 점검 </a:t>
            </a:r>
            <a:r>
              <a:rPr lang="en-US" altLang="ko-KR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ystem </a:t>
            </a:r>
            <a:r>
              <a:rPr lang="ko-KR" altLang="en-US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구축</a:t>
            </a:r>
            <a:endParaRPr lang="en-US" altLang="ko-KR" sz="14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/>
            <a:endParaRPr lang="en-US" altLang="ko-KR" sz="14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/>
            <a:r>
              <a:rPr lang="ko-KR" altLang="en-US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불량 검출의 완전 자동화</a:t>
            </a:r>
            <a:endParaRPr lang="ko-KR" altLang="en-US" sz="14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17" name="꺾인 연결선 16"/>
          <p:cNvCxnSpPr>
            <a:stCxn id="12" idx="3"/>
            <a:endCxn id="13" idx="1"/>
          </p:cNvCxnSpPr>
          <p:nvPr/>
        </p:nvCxnSpPr>
        <p:spPr>
          <a:xfrm flipV="1">
            <a:off x="1605149" y="1751416"/>
            <a:ext cx="395523" cy="1740112"/>
          </a:xfrm>
          <a:prstGeom prst="bentConnector3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꺾인 연결선 17"/>
          <p:cNvCxnSpPr>
            <a:stCxn id="12" idx="3"/>
            <a:endCxn id="14" idx="1"/>
          </p:cNvCxnSpPr>
          <p:nvPr/>
        </p:nvCxnSpPr>
        <p:spPr>
          <a:xfrm flipV="1">
            <a:off x="1605149" y="3126241"/>
            <a:ext cx="395523" cy="365287"/>
          </a:xfrm>
          <a:prstGeom prst="bentConnector3">
            <a:avLst>
              <a:gd name="adj1" fmla="val 50000"/>
            </a:avLst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꺾인 연결선 18"/>
          <p:cNvCxnSpPr>
            <a:stCxn id="12" idx="3"/>
            <a:endCxn id="15" idx="1"/>
          </p:cNvCxnSpPr>
          <p:nvPr/>
        </p:nvCxnSpPr>
        <p:spPr>
          <a:xfrm>
            <a:off x="1605149" y="3491528"/>
            <a:ext cx="395523" cy="1005961"/>
          </a:xfrm>
          <a:prstGeom prst="bentConnector3">
            <a:avLst>
              <a:gd name="adj1" fmla="val 50000"/>
            </a:avLst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직사각형 21"/>
          <p:cNvSpPr/>
          <p:nvPr/>
        </p:nvSpPr>
        <p:spPr>
          <a:xfrm>
            <a:off x="1999065" y="2009789"/>
            <a:ext cx="1166790" cy="21072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양</a:t>
            </a:r>
            <a:r>
              <a:rPr lang="en-US" altLang="ko-KR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불 판정을 위한 이미지 데이터 취합</a:t>
            </a:r>
            <a:endParaRPr lang="ko-KR" altLang="en-US" sz="100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913621" y="935131"/>
            <a:ext cx="2784084" cy="251962"/>
            <a:chOff x="816531" y="1952902"/>
            <a:chExt cx="3757040" cy="251962"/>
          </a:xfrm>
        </p:grpSpPr>
        <p:cxnSp>
          <p:nvCxnSpPr>
            <p:cNvPr id="6" name="직선 연결선 5"/>
            <p:cNvCxnSpPr/>
            <p:nvPr/>
          </p:nvCxnSpPr>
          <p:spPr>
            <a:xfrm>
              <a:off x="816531" y="2204864"/>
              <a:ext cx="375704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직사각형 48"/>
            <p:cNvSpPr/>
            <p:nvPr/>
          </p:nvSpPr>
          <p:spPr>
            <a:xfrm>
              <a:off x="1553678" y="1952902"/>
              <a:ext cx="2381732" cy="129074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실행 항목 전개</a:t>
              </a:r>
              <a:endParaRPr lang="ko-KR" altLang="en-US" sz="16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4016170" y="908720"/>
            <a:ext cx="1656183" cy="278373"/>
            <a:chOff x="5025008" y="1926491"/>
            <a:chExt cx="4630757" cy="278373"/>
          </a:xfrm>
        </p:grpSpPr>
        <p:cxnSp>
          <p:nvCxnSpPr>
            <p:cNvPr id="47" name="직선 연결선 46"/>
            <p:cNvCxnSpPr/>
            <p:nvPr/>
          </p:nvCxnSpPr>
          <p:spPr>
            <a:xfrm>
              <a:off x="5025008" y="2204864"/>
              <a:ext cx="463075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직사각형 49"/>
            <p:cNvSpPr/>
            <p:nvPr/>
          </p:nvSpPr>
          <p:spPr>
            <a:xfrm>
              <a:off x="5161205" y="1926491"/>
              <a:ext cx="4358360" cy="181896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담당자</a:t>
              </a:r>
              <a:endParaRPr lang="ko-KR" altLang="en-US" sz="16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grpSp>
        <p:nvGrpSpPr>
          <p:cNvPr id="54" name="그룹 53"/>
          <p:cNvGrpSpPr/>
          <p:nvPr/>
        </p:nvGrpSpPr>
        <p:grpSpPr>
          <a:xfrm>
            <a:off x="5888378" y="908720"/>
            <a:ext cx="1656183" cy="278373"/>
            <a:chOff x="5025008" y="1926491"/>
            <a:chExt cx="4630757" cy="278373"/>
          </a:xfrm>
        </p:grpSpPr>
        <p:cxnSp>
          <p:nvCxnSpPr>
            <p:cNvPr id="55" name="직선 연결선 54"/>
            <p:cNvCxnSpPr/>
            <p:nvPr/>
          </p:nvCxnSpPr>
          <p:spPr>
            <a:xfrm>
              <a:off x="5025008" y="2204864"/>
              <a:ext cx="463075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직사각형 55"/>
            <p:cNvSpPr/>
            <p:nvPr/>
          </p:nvSpPr>
          <p:spPr>
            <a:xfrm>
              <a:off x="5161205" y="1926491"/>
              <a:ext cx="4358360" cy="181896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일정</a:t>
              </a:r>
              <a:endParaRPr lang="ko-KR" altLang="en-US" sz="16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grpSp>
        <p:nvGrpSpPr>
          <p:cNvPr id="57" name="그룹 56"/>
          <p:cNvGrpSpPr/>
          <p:nvPr/>
        </p:nvGrpSpPr>
        <p:grpSpPr>
          <a:xfrm>
            <a:off x="7688578" y="908720"/>
            <a:ext cx="1656183" cy="278373"/>
            <a:chOff x="5025008" y="1926491"/>
            <a:chExt cx="4630757" cy="278373"/>
          </a:xfrm>
        </p:grpSpPr>
        <p:cxnSp>
          <p:nvCxnSpPr>
            <p:cNvPr id="58" name="직선 연결선 57"/>
            <p:cNvCxnSpPr/>
            <p:nvPr/>
          </p:nvCxnSpPr>
          <p:spPr>
            <a:xfrm>
              <a:off x="5025008" y="2204864"/>
              <a:ext cx="463075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직사각형 58"/>
            <p:cNvSpPr/>
            <p:nvPr/>
          </p:nvSpPr>
          <p:spPr>
            <a:xfrm>
              <a:off x="5161205" y="1926491"/>
              <a:ext cx="4358360" cy="181896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완료판단 기준</a:t>
              </a:r>
              <a:endParaRPr lang="ko-KR" altLang="en-US" sz="16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13" name="직사각형 12"/>
          <p:cNvSpPr/>
          <p:nvPr/>
        </p:nvSpPr>
        <p:spPr>
          <a:xfrm>
            <a:off x="2000672" y="1556792"/>
            <a:ext cx="1100273" cy="389248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데이터 수집 및 편집</a:t>
            </a:r>
            <a:endParaRPr lang="ko-KR" altLang="en-US" sz="12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25" name="그룹 24"/>
          <p:cNvGrpSpPr/>
          <p:nvPr/>
        </p:nvGrpSpPr>
        <p:grpSpPr>
          <a:xfrm>
            <a:off x="4257452" y="1597254"/>
            <a:ext cx="2965038" cy="369332"/>
            <a:chOff x="4546210" y="2605366"/>
            <a:chExt cx="2965038" cy="369332"/>
          </a:xfrm>
        </p:grpSpPr>
        <p:sp>
          <p:nvSpPr>
            <p:cNvPr id="5" name="TextBox 4"/>
            <p:cNvSpPr txBox="1"/>
            <p:nvPr/>
          </p:nvSpPr>
          <p:spPr>
            <a:xfrm>
              <a:off x="4546210" y="2605366"/>
              <a:ext cx="127470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유병천 책임</a:t>
              </a:r>
              <a:endPara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6307072" y="2605366"/>
              <a:ext cx="120417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~22</a:t>
              </a:r>
              <a:r>
                <a:rPr lang="ko-KR" altLang="en-US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년 </a:t>
              </a:r>
              <a:r>
                <a:rPr lang="en-US" altLang="ko-KR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9</a:t>
              </a:r>
              <a:r>
                <a:rPr lang="ko-KR" altLang="en-US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월</a:t>
              </a:r>
              <a:endPara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14" name="직사각형 13"/>
          <p:cNvSpPr/>
          <p:nvPr/>
        </p:nvSpPr>
        <p:spPr>
          <a:xfrm>
            <a:off x="2000672" y="2931617"/>
            <a:ext cx="1100273" cy="389248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판정 모델 구현</a:t>
            </a:r>
            <a:endParaRPr lang="ko-KR" altLang="en-US" sz="12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26" name="그룹 25"/>
          <p:cNvGrpSpPr/>
          <p:nvPr/>
        </p:nvGrpSpPr>
        <p:grpSpPr>
          <a:xfrm>
            <a:off x="4257452" y="2968502"/>
            <a:ext cx="2966821" cy="369332"/>
            <a:chOff x="4546210" y="3542255"/>
            <a:chExt cx="2966821" cy="369332"/>
          </a:xfrm>
        </p:grpSpPr>
        <p:sp>
          <p:nvSpPr>
            <p:cNvPr id="29" name="TextBox 28"/>
            <p:cNvSpPr txBox="1"/>
            <p:nvPr/>
          </p:nvSpPr>
          <p:spPr>
            <a:xfrm>
              <a:off x="4546210" y="3542255"/>
              <a:ext cx="127470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원종권 선임</a:t>
              </a:r>
              <a:endPara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6308855" y="3542255"/>
              <a:ext cx="120417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~23</a:t>
              </a:r>
              <a:r>
                <a:rPr lang="ko-KR" altLang="en-US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년 </a:t>
              </a:r>
              <a:r>
                <a:rPr lang="en-US" altLang="ko-KR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3</a:t>
              </a:r>
              <a:r>
                <a:rPr lang="ko-KR" altLang="en-US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월</a:t>
              </a:r>
              <a:endPara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15" name="직사각형 14"/>
          <p:cNvSpPr/>
          <p:nvPr/>
        </p:nvSpPr>
        <p:spPr>
          <a:xfrm>
            <a:off x="2000672" y="4302865"/>
            <a:ext cx="1100273" cy="389248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 검증 및 개선활동 진행</a:t>
            </a:r>
            <a:endParaRPr lang="ko-KR" altLang="en-US" sz="12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27" name="그룹 26"/>
          <p:cNvGrpSpPr/>
          <p:nvPr/>
        </p:nvGrpSpPr>
        <p:grpSpPr>
          <a:xfrm>
            <a:off x="4257452" y="4336173"/>
            <a:ext cx="2965038" cy="381443"/>
            <a:chOff x="4546210" y="4797152"/>
            <a:chExt cx="2965038" cy="381443"/>
          </a:xfrm>
        </p:grpSpPr>
        <p:sp>
          <p:nvSpPr>
            <p:cNvPr id="30" name="TextBox 29"/>
            <p:cNvSpPr txBox="1"/>
            <p:nvPr/>
          </p:nvSpPr>
          <p:spPr>
            <a:xfrm>
              <a:off x="4546210" y="4797152"/>
              <a:ext cx="127470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원종권 선임</a:t>
              </a:r>
              <a:endPara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6307072" y="4809263"/>
              <a:ext cx="120417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~23</a:t>
              </a:r>
              <a:r>
                <a:rPr lang="ko-KR" altLang="en-US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년 </a:t>
              </a:r>
              <a:r>
                <a:rPr lang="en-US" altLang="ko-KR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9</a:t>
              </a:r>
              <a:r>
                <a:rPr lang="ko-KR" altLang="en-US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월</a:t>
              </a:r>
              <a:endPara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</p:grpSp>
      <p:cxnSp>
        <p:nvCxnSpPr>
          <p:cNvPr id="10" name="직선 연결선 9"/>
          <p:cNvCxnSpPr/>
          <p:nvPr/>
        </p:nvCxnSpPr>
        <p:spPr>
          <a:xfrm>
            <a:off x="1802910" y="4437112"/>
            <a:ext cx="0" cy="144016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직선 연결선 22"/>
          <p:cNvCxnSpPr/>
          <p:nvPr/>
        </p:nvCxnSpPr>
        <p:spPr>
          <a:xfrm>
            <a:off x="1802910" y="5877272"/>
            <a:ext cx="19776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직사각형 41"/>
          <p:cNvSpPr/>
          <p:nvPr/>
        </p:nvSpPr>
        <p:spPr>
          <a:xfrm>
            <a:off x="2000672" y="5692955"/>
            <a:ext cx="1100273" cy="389248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 배포 및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eedback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반영</a:t>
            </a:r>
            <a:endParaRPr lang="ko-KR" altLang="en-US" sz="12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264977" y="5702913"/>
            <a:ext cx="12747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937607" y="5425914"/>
            <a:ext cx="15520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3Y,24Y,25Y</a:t>
            </a:r>
          </a:p>
          <a:p>
            <a:pPr algn="ctr"/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중장기계획</a:t>
            </a:r>
            <a:endParaRPr lang="en-US" altLang="ko-KR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진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1977758" y="3432403"/>
            <a:ext cx="1247050" cy="21072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이미지 </a:t>
            </a:r>
            <a:r>
              <a:rPr lang="en-US" altLang="ko-KR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ata</a:t>
            </a:r>
            <a:r>
              <a:rPr lang="ko-KR" altLang="en-US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를 활용한 판정 모델 초안 수립</a:t>
            </a:r>
            <a:endParaRPr lang="ko-KR" altLang="en-US" sz="100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1999065" y="4847307"/>
            <a:ext cx="1166790" cy="21072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판정 모델 정확도 검증 및 개선</a:t>
            </a:r>
            <a:endParaRPr lang="ko-KR" altLang="en-US" sz="100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3" name="직사각형 62"/>
          <p:cNvSpPr/>
          <p:nvPr/>
        </p:nvSpPr>
        <p:spPr>
          <a:xfrm>
            <a:off x="1977758" y="6174084"/>
            <a:ext cx="1166790" cy="21072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업체 배포 및 </a:t>
            </a:r>
            <a:r>
              <a:rPr lang="en-US" altLang="ko-KR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eedback </a:t>
            </a:r>
            <a:r>
              <a:rPr lang="ko-KR" altLang="en-US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취합</a:t>
            </a:r>
            <a:endParaRPr lang="ko-KR" altLang="en-US" sz="100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7708664" y="1612529"/>
            <a:ext cx="147668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양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 사진 데이터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취합 완료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7708664" y="2916233"/>
            <a:ext cx="16369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양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 판정이 가능한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구현 완료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7708664" y="4348284"/>
            <a:ext cx="17171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양불 판정의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KPI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달성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7613285" y="5518247"/>
            <a:ext cx="207300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 구축 준비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23Y)</a:t>
            </a:r>
          </a:p>
          <a:p>
            <a:pPr 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스템 및 설비 구축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24Y)</a:t>
            </a:r>
          </a:p>
          <a:p>
            <a:pPr 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Global 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확대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25Y)</a:t>
            </a:r>
          </a:p>
        </p:txBody>
      </p:sp>
      <p:sp>
        <p:nvSpPr>
          <p:cNvPr id="72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847207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3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실행 기획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실행 절차 </a:t>
            </a:r>
            <a:r>
              <a:rPr lang="en-US" altLang="ko-KR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Tailoring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92664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/>
        </p:nvSpPr>
        <p:spPr>
          <a:xfrm>
            <a:off x="1568624" y="1286286"/>
            <a:ext cx="7149754" cy="4971600"/>
          </a:xfrm>
          <a:prstGeom prst="rect">
            <a:avLst/>
          </a:prstGeom>
          <a:blipFill dpi="0" rotWithShape="1">
            <a:blip r:embed="rId2">
              <a:alphaModFix amt="1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2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847207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3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실행 기획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실행 절차 </a:t>
            </a:r>
            <a:r>
              <a:rPr lang="en-US" altLang="ko-KR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Tailoring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1804" y="683404"/>
            <a:ext cx="69813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G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자의 협력사인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로의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파를 통해 </a:t>
            </a:r>
            <a:r>
              <a:rPr lang="en-US" altLang="ko-KR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</a:t>
            </a:r>
            <a:r>
              <a:rPr lang="ko-KR" altLang="en-US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역량 점진적 향상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유도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" name="사각형: 둥근 모서리 6">
            <a:extLst>
              <a:ext uri="{FF2B5EF4-FFF2-40B4-BE49-F238E27FC236}">
                <a16:creationId xmlns="" xmlns:a16="http://schemas.microsoft.com/office/drawing/2014/main" id="{F3497261-9040-E521-3F1E-25DAD94543E3}"/>
              </a:ext>
            </a:extLst>
          </p:cNvPr>
          <p:cNvSpPr/>
          <p:nvPr/>
        </p:nvSpPr>
        <p:spPr>
          <a:xfrm>
            <a:off x="2036856" y="1484784"/>
            <a:ext cx="1620000" cy="72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1"/>
            </a:solidFill>
          </a:ln>
        </p:spPr>
        <p:txBody>
          <a:bodyPr wrap="none" lIns="10800" tIns="10800" rIns="10800" bIns="10800" anchor="ctr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2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3Y</a:t>
            </a:r>
            <a:endParaRPr lang="en-US" altLang="ko-KR" sz="2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" name="사각형: 둥근 모서리 6">
            <a:extLst>
              <a:ext uri="{FF2B5EF4-FFF2-40B4-BE49-F238E27FC236}">
                <a16:creationId xmlns="" xmlns:a16="http://schemas.microsoft.com/office/drawing/2014/main" id="{F3497261-9040-E521-3F1E-25DAD94543E3}"/>
              </a:ext>
            </a:extLst>
          </p:cNvPr>
          <p:cNvSpPr/>
          <p:nvPr/>
        </p:nvSpPr>
        <p:spPr>
          <a:xfrm>
            <a:off x="4737156" y="1484784"/>
            <a:ext cx="1620000" cy="72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1"/>
            </a:solidFill>
          </a:ln>
        </p:spPr>
        <p:txBody>
          <a:bodyPr wrap="none" lIns="10800" tIns="10800" rIns="10800" bIns="10800" anchor="ctr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2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4Y</a:t>
            </a:r>
            <a:endParaRPr lang="en-US" altLang="ko-KR" sz="2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" name="사각형: 둥근 모서리 6">
            <a:extLst>
              <a:ext uri="{FF2B5EF4-FFF2-40B4-BE49-F238E27FC236}">
                <a16:creationId xmlns="" xmlns:a16="http://schemas.microsoft.com/office/drawing/2014/main" id="{F3497261-9040-E521-3F1E-25DAD94543E3}"/>
              </a:ext>
            </a:extLst>
          </p:cNvPr>
          <p:cNvSpPr/>
          <p:nvPr/>
        </p:nvSpPr>
        <p:spPr>
          <a:xfrm>
            <a:off x="7437456" y="1484784"/>
            <a:ext cx="1620000" cy="72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1"/>
            </a:solidFill>
          </a:ln>
        </p:spPr>
        <p:txBody>
          <a:bodyPr wrap="none" lIns="10800" tIns="10800" rIns="10800" bIns="10800" anchor="ctr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2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5Y</a:t>
            </a:r>
            <a:endParaRPr lang="en-US" altLang="ko-KR" sz="2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072680" y="2915652"/>
            <a:ext cx="1438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축 준비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810930" y="2915652"/>
            <a:ext cx="1438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범 운영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357825" y="2915652"/>
            <a:ext cx="1771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Global 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확산 전개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24694" y="3787958"/>
            <a:ext cx="2685351" cy="1708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 설비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투자비용 산정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 항목 추가 발굴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LGE/BM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ine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설비 구축 방안 수립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자동화를 위한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ta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가 입수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역량 강화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664968" y="3787958"/>
            <a:ext cx="2438488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대표모델 선정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범 적용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ite(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법인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선정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설비 투자 및 </a:t>
            </a:r>
            <a:r>
              <a:rPr lang="ko-KR" altLang="en-US" sz="14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셋업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 시스템 운영 및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/B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확인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 시스템 개선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DX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업무 인식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확산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※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 자동화 외 </a:t>
            </a:r>
            <a:r>
              <a:rPr lang="ko-KR" altLang="en-US" sz="14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협력사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효율화 개선 추진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453159" y="3787958"/>
            <a:ext cx="242726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BM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 전 법인 수평 전개 추진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활화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212978" y="2712900"/>
            <a:ext cx="1388305" cy="841508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</a:t>
            </a:r>
            <a:r>
              <a:rPr lang="ko-KR" altLang="en-US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단계</a:t>
            </a:r>
          </a:p>
        </p:txBody>
      </p:sp>
      <p:sp>
        <p:nvSpPr>
          <p:cNvPr id="18" name="직사각형 17"/>
          <p:cNvSpPr/>
          <p:nvPr/>
        </p:nvSpPr>
        <p:spPr>
          <a:xfrm>
            <a:off x="212978" y="3885843"/>
            <a:ext cx="1388305" cy="841508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행</a:t>
            </a:r>
            <a:endParaRPr lang="en-US" altLang="ko-KR" b="1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ko-KR" altLang="en-US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제</a:t>
            </a:r>
            <a:endParaRPr lang="ko-KR" altLang="en-US" b="1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34972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749424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3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실행 기획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en-US" altLang="ko-KR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Data 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정의 및 수집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8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2025" y="1340768"/>
            <a:ext cx="9513504" cy="1794604"/>
          </a:xfrm>
          <a:prstGeom prst="rect">
            <a:avLst/>
          </a:prstGeom>
          <a:noFill/>
          <a:ln>
            <a:noFill/>
          </a:ln>
        </p:spPr>
        <p:txBody>
          <a:bodyPr wrap="squar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.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량 검출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ystem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을 구축하여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에서 수행하는 모듈 배면 부자재 부착 검사를 대체하기 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위함이므로 </a:t>
            </a:r>
            <a:endParaRPr lang="en-US" altLang="ko-KR" sz="16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</a:t>
            </a:r>
            <a:r>
              <a:rPr lang="ko-KR" altLang="en-US" sz="1600" b="1" u="sng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부자재의 부착 </a:t>
            </a:r>
            <a:r>
              <a:rPr lang="ko-KR" altLang="en-US" sz="1600" b="1" u="sng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현황을 확인할 수 있는 모듈 배면의 사진 </a:t>
            </a:r>
            <a:r>
              <a:rPr lang="en-US" altLang="ko-KR" sz="1600" b="1" u="sng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ta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취합이 필요하다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.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초기 모델링 구성을 위한 대표모델로 팀 내 신규 개발 모델인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5QNED80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을 선정한 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후 </a:t>
            </a:r>
            <a:endParaRPr lang="en-US" altLang="ko-KR" sz="16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</a:t>
            </a:r>
            <a:r>
              <a:rPr lang="ko-KR" altLang="en-US" sz="1600" b="1" u="sng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양</a:t>
            </a:r>
            <a:r>
              <a:rPr lang="en-US" altLang="ko-KR" sz="1600" b="1" u="sng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600" b="1" u="sng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 </a:t>
            </a:r>
            <a:r>
              <a:rPr lang="en-US" altLang="ko-KR" sz="1600" b="1" u="sng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ase </a:t>
            </a:r>
            <a:r>
              <a:rPr lang="ko-KR" altLang="en-US" sz="1600" b="1" u="sng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별 이미지 데이터</a:t>
            </a:r>
            <a:r>
              <a:rPr lang="ko-KR" altLang="en-US" sz="1600" u="sng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확보하여 검출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ystem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을 구축하고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후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 모델의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ta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집을 통해 확대전개 진행을 목표로 한다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67086" y="727918"/>
            <a:ext cx="3032784" cy="61285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요 데이터 정의</a:t>
            </a:r>
            <a:endParaRPr lang="ko-KR" altLang="en-US" sz="20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38111" y="3796373"/>
            <a:ext cx="3032784" cy="30570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데이터 수집 방법</a:t>
            </a:r>
            <a:endParaRPr lang="ko-KR" altLang="en-US" sz="20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2024" y="4227667"/>
            <a:ext cx="9225472" cy="1794604"/>
          </a:xfrm>
          <a:prstGeom prst="rect">
            <a:avLst/>
          </a:prstGeom>
          <a:noFill/>
          <a:ln>
            <a:noFill/>
          </a:ln>
        </p:spPr>
        <p:txBody>
          <a:bodyPr wrap="squar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.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발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vent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진행 간 조립하는 모듈의 배면 사진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ta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취합을 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위해 </a:t>
            </a:r>
            <a:endParaRPr lang="en-US" altLang="ko-KR" sz="16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</a:t>
            </a:r>
            <a:r>
              <a:rPr lang="ko-KR" altLang="en-US" sz="1600" b="1" u="sng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</a:t>
            </a:r>
            <a:r>
              <a:rPr lang="ko-KR" altLang="en-US" sz="1600" b="1" u="sng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조립을 진행하는 </a:t>
            </a:r>
            <a:r>
              <a:rPr lang="en-US" altLang="ko-KR" sz="1600" b="1" u="sng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sz="1600" b="1" u="sng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 </a:t>
            </a:r>
            <a:r>
              <a:rPr lang="ko-KR" altLang="en-US" sz="1600" b="1" u="sng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담당자를 통해 모듈 </a:t>
            </a:r>
            <a:r>
              <a:rPr lang="ko-KR" altLang="en-US" sz="1600" b="1" u="sng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배면사진 촬영</a:t>
            </a:r>
            <a:r>
              <a:rPr lang="ko-KR" altLang="en-US" sz="1600" u="sng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및 송부</a:t>
            </a:r>
            <a:endParaRPr lang="en-US" altLang="ko-KR" sz="16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(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희성전자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Q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발 진동수 팀장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인도네시아 법인 정시영 팀장 회신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. </a:t>
            </a:r>
            <a:r>
              <a:rPr lang="ko-KR" altLang="en-US" sz="1600" b="1" u="sng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량 사진 </a:t>
            </a:r>
            <a:r>
              <a:rPr lang="en-US" altLang="ko-KR" sz="1600" b="1" u="sng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ta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경우 실제 </a:t>
            </a:r>
            <a:r>
              <a:rPr lang="ko-KR" altLang="en-US" sz="160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조립시에는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발생 수량이 많지 않아 </a:t>
            </a:r>
            <a:r>
              <a:rPr lang="ko-KR" altLang="en-US" sz="160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머신러닝이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가능한 수준의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ta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량 확보가</a:t>
            </a:r>
            <a:endParaRPr lang="en-US" altLang="ko-KR" sz="16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어려우므로 </a:t>
            </a:r>
            <a:r>
              <a:rPr lang="ko-KR" altLang="en-US" sz="1600" b="1" u="sng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인위적으로 불량 현상을 만든 뒤 사진 촬영 진행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하여 수량 확보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7029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749424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3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실행 기획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en-US" altLang="ko-KR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Data 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정의 및 수집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3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6496" y="1237196"/>
            <a:ext cx="5657969" cy="908207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① 균일한 데이터 확보를 위해 가급적 동일한 위치에서 사진촬영 필요</a:t>
            </a:r>
            <a:endParaRPr lang="en-US" altLang="ko-KR" sz="16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② 부착된 부자재가 사진상 누락되지 않도록 유의하여 촬영</a:t>
            </a:r>
            <a:endParaRPr lang="en-US" altLang="ko-KR" sz="16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② 양질의 데이터 확보를 위해 가급적 고화질로 사진 촬영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446999" y="1853488"/>
            <a:ext cx="2430000" cy="4320000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965723" y="1853488"/>
            <a:ext cx="2430000" cy="4320000"/>
          </a:xfrm>
          <a:prstGeom prst="rect">
            <a:avLst/>
          </a:prstGeom>
        </p:spPr>
      </p:pic>
      <p:sp>
        <p:nvSpPr>
          <p:cNvPr id="16" name="타원 15"/>
          <p:cNvSpPr/>
          <p:nvPr/>
        </p:nvSpPr>
        <p:spPr>
          <a:xfrm>
            <a:off x="7825890" y="4291614"/>
            <a:ext cx="584401" cy="53530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TextBox 16"/>
          <p:cNvSpPr txBox="1"/>
          <p:nvPr/>
        </p:nvSpPr>
        <p:spPr>
          <a:xfrm>
            <a:off x="1837094" y="5278242"/>
            <a:ext cx="16498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lt;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양품 모듈 사진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355818" y="5278242"/>
            <a:ext cx="16498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lt;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량 모듈 사진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584406" y="2438447"/>
            <a:ext cx="3621216" cy="29254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ko-KR" altLang="en-US" sz="2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수집 </a:t>
            </a:r>
            <a:r>
              <a:rPr lang="en-US" altLang="ko-KR" sz="2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ata </a:t>
            </a:r>
            <a:r>
              <a:rPr lang="ko-KR" altLang="en-US" sz="2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예시</a:t>
            </a:r>
            <a:endParaRPr lang="ko-KR" altLang="en-US" sz="2000" b="1" dirty="0">
              <a:solidFill>
                <a:srgbClr val="C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28588" y="692150"/>
            <a:ext cx="3032784" cy="61285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en-US" altLang="ko-KR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Data </a:t>
            </a:r>
            <a:r>
              <a:rPr lang="ko-KR" altLang="en-US" sz="2000" b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집시 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의사항</a:t>
            </a:r>
            <a:endParaRPr lang="ko-KR" altLang="en-US" sz="20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320606" y="5736420"/>
            <a:ext cx="8136904" cy="42674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* </a:t>
            </a:r>
            <a:r>
              <a:rPr lang="ko-KR" altLang="en-US" sz="16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머신러닝을 </a:t>
            </a:r>
            <a:r>
              <a:rPr lang="ko-KR" altLang="en-US" sz="1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통한 학습 및 판정 </a:t>
            </a:r>
            <a:r>
              <a:rPr lang="en-US" altLang="ko-KR" sz="1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ystem</a:t>
            </a:r>
            <a:r>
              <a:rPr lang="ko-KR" altLang="en-US" sz="16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구현을 위해 양</a:t>
            </a:r>
            <a:r>
              <a:rPr lang="en-US" altLang="ko-KR" sz="1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불 </a:t>
            </a:r>
            <a:r>
              <a:rPr lang="en-US" altLang="ko-KR" sz="1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ase </a:t>
            </a:r>
            <a:r>
              <a:rPr lang="ko-KR" altLang="en-US" sz="1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별 </a:t>
            </a:r>
            <a:r>
              <a:rPr lang="en-US" altLang="ko-KR" sz="1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00</a:t>
            </a:r>
            <a:r>
              <a:rPr lang="ko-KR" altLang="en-US" sz="1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장 이상의 사진 취합 필요</a:t>
            </a:r>
            <a:endParaRPr lang="ko-KR" altLang="en-US" sz="160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7571637" y="3835431"/>
            <a:ext cx="1029454" cy="42674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600" smtClean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누락 불량</a:t>
            </a:r>
            <a:endParaRPr lang="ko-KR" altLang="en-US" sz="160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18922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449662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3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실행 기획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검증 모델 수립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6866" y="691767"/>
            <a:ext cx="86084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대표적인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Object Detection 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방법인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NN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YOLO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이용하여 판정 모델 수립 및 검증 진행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0969" y="2213772"/>
            <a:ext cx="2127846" cy="1411744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>
          <a:xfrm>
            <a:off x="5022926" y="1819602"/>
            <a:ext cx="456246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.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미지 정보의 공간적인 특징을 추출하는데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용한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NN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석을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용하면 추후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다양한 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로의 </a:t>
            </a:r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확대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적용이 유용할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것으로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단됨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.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양품과 불량품 간의 차이가 명확하지 않을 경우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 정확도가 떨어지며 판정 속도가 느리다는 단점이 있음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5071052" y="4262611"/>
            <a:ext cx="470648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. </a:t>
            </a:r>
            <a:r>
              <a:rPr lang="en-US" altLang="ko-KR" sz="14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boflow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이용한 이미지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Object Detection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및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ugmentation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적용 후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YOLOv5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이용하여 양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 머신 러닝 진행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.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수립 후 판정 정확도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효율이 높으나 이미지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ta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전처리 및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ugmentation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작업에 시간이 소요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47174" y="1789947"/>
            <a:ext cx="4592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. CNN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Convolution Neutral Network)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47174" y="3816757"/>
            <a:ext cx="4592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. YOLOv5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You Only Look Once)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676" y="4110922"/>
            <a:ext cx="3868776" cy="2384103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913836" y="74216"/>
            <a:ext cx="1980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reative thinking</a:t>
            </a:r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7" name="Line 15">
            <a:extLst>
              <a:ext uri="{FF2B5EF4-FFF2-40B4-BE49-F238E27FC236}">
                <a16:creationId xmlns="" xmlns:a16="http://schemas.microsoft.com/office/drawing/2014/main" id="{B24249C0-B544-4570-A22D-272C5C4EBECC}"/>
              </a:ext>
            </a:extLst>
          </p:cNvPr>
          <p:cNvSpPr>
            <a:spLocks noChangeShapeType="1"/>
          </p:cNvSpPr>
          <p:nvPr/>
        </p:nvSpPr>
        <p:spPr bwMode="auto">
          <a:xfrm>
            <a:off x="1142239" y="1531196"/>
            <a:ext cx="2380165" cy="0"/>
          </a:xfrm>
          <a:prstGeom prst="line">
            <a:avLst/>
          </a:prstGeom>
          <a:noFill/>
          <a:ln w="3175">
            <a:solidFill>
              <a:srgbClr val="000000"/>
            </a:solidFill>
            <a:round/>
            <a:headEnd/>
            <a:tailEnd/>
          </a:ln>
          <a:extLst/>
        </p:spPr>
        <p:txBody>
          <a:bodyPr lIns="122182" tIns="61091" rIns="122182" bIns="6109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18" name="Text Box 2">
            <a:extLst>
              <a:ext uri="{FF2B5EF4-FFF2-40B4-BE49-F238E27FC236}">
                <a16:creationId xmlns="" xmlns:a16="http://schemas.microsoft.com/office/drawing/2014/main" id="{9605EB89-444C-4606-BC52-B1B05FA8CB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2601" y="1202604"/>
            <a:ext cx="101548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 모델</a:t>
            </a:r>
            <a:endParaRPr lang="en-US" altLang="ko-KR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" name="Line 15">
            <a:extLst>
              <a:ext uri="{FF2B5EF4-FFF2-40B4-BE49-F238E27FC236}">
                <a16:creationId xmlns="" xmlns:a16="http://schemas.microsoft.com/office/drawing/2014/main" id="{B24249C0-B544-4570-A22D-272C5C4EBECC}"/>
              </a:ext>
            </a:extLst>
          </p:cNvPr>
          <p:cNvSpPr>
            <a:spLocks noChangeShapeType="1"/>
          </p:cNvSpPr>
          <p:nvPr/>
        </p:nvSpPr>
        <p:spPr bwMode="auto">
          <a:xfrm>
            <a:off x="6315818" y="1531196"/>
            <a:ext cx="2380165" cy="0"/>
          </a:xfrm>
          <a:prstGeom prst="line">
            <a:avLst/>
          </a:prstGeom>
          <a:noFill/>
          <a:ln w="3175">
            <a:solidFill>
              <a:srgbClr val="000000"/>
            </a:solidFill>
            <a:round/>
            <a:headEnd/>
            <a:tailEnd/>
          </a:ln>
          <a:extLst/>
        </p:spPr>
        <p:txBody>
          <a:bodyPr lIns="122182" tIns="61091" rIns="122182" bIns="6109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20" name="Text Box 2">
            <a:extLst>
              <a:ext uri="{FF2B5EF4-FFF2-40B4-BE49-F238E27FC236}">
                <a16:creationId xmlns="" xmlns:a16="http://schemas.microsoft.com/office/drawing/2014/main" id="{9605EB89-444C-4606-BC52-B1B05FA8CB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06180" y="1202604"/>
            <a:ext cx="101548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선정 사유</a:t>
            </a:r>
            <a:endParaRPr lang="en-US" altLang="ko-KR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80008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직사각형 130"/>
          <p:cNvSpPr/>
          <p:nvPr/>
        </p:nvSpPr>
        <p:spPr>
          <a:xfrm>
            <a:off x="152400" y="5379826"/>
            <a:ext cx="9656395" cy="1356876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indent="93663" fontAlgn="auto" latinLnBrk="0">
              <a:spcBef>
                <a:spcPts val="0"/>
              </a:spcBef>
              <a:spcAft>
                <a:spcPts val="0"/>
              </a:spcAft>
            </a:pPr>
            <a:endParaRPr lang="en-US" altLang="ko-KR" sz="1200" b="1" kern="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indent="93663" fontAlgn="auto" latinLnBrk="0">
              <a:spcBef>
                <a:spcPts val="0"/>
              </a:spcBef>
              <a:spcAft>
                <a:spcPts val="0"/>
              </a:spcAft>
            </a:pPr>
            <a:endParaRPr lang="en-US" altLang="ko-KR" sz="1200" b="1" kern="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indent="93663" fontAlgn="auto" latinLnBrk="0">
              <a:spcBef>
                <a:spcPts val="0"/>
              </a:spcBef>
              <a:spcAft>
                <a:spcPts val="0"/>
              </a:spcAft>
            </a:pPr>
            <a:endParaRPr lang="en-US" altLang="ko-KR" sz="1200" b="1" kern="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indent="93663" fontAlgn="auto" latinLnBrk="0">
              <a:spcBef>
                <a:spcPts val="0"/>
              </a:spcBef>
              <a:spcAft>
                <a:spcPts val="0"/>
              </a:spcAft>
            </a:pPr>
            <a:endParaRPr lang="en-US" altLang="ko-KR" sz="1200" b="1" kern="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indent="93663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kern="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평가자 기록 </a:t>
            </a:r>
            <a:r>
              <a:rPr lang="en-US" altLang="ko-KR" sz="1200" b="1" kern="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. </a:t>
            </a:r>
            <a:endParaRPr lang="ko-KR" altLang="en-US" sz="1200" b="1" kern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" name="직사각형 111"/>
          <p:cNvSpPr/>
          <p:nvPr/>
        </p:nvSpPr>
        <p:spPr>
          <a:xfrm>
            <a:off x="8992756" y="175161"/>
            <a:ext cx="734440" cy="266700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작성예시</a:t>
            </a:r>
            <a:endParaRPr lang="ko-KR" altLang="en-US" sz="1000" b="1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aphicFrame>
        <p:nvGraphicFramePr>
          <p:cNvPr id="118" name="표 1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9149269"/>
              </p:ext>
            </p:extLst>
          </p:nvPr>
        </p:nvGraphicFramePr>
        <p:xfrm>
          <a:off x="164124" y="154644"/>
          <a:ext cx="7142313" cy="49440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8856"/>
                <a:gridCol w="2909440"/>
                <a:gridCol w="1280160"/>
                <a:gridCol w="1903857"/>
              </a:tblGrid>
              <a:tr h="376026"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과제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요약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과제 명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latinLnBrk="0"/>
                      <a:r>
                        <a:rPr lang="en-US" altLang="ko-KR" sz="1000" b="1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I(</a:t>
                      </a:r>
                      <a:r>
                        <a:rPr lang="ko-KR" altLang="en-US" sz="1000" b="1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미지분석</a:t>
                      </a:r>
                      <a:r>
                        <a:rPr lang="en-US" altLang="ko-KR" sz="1000" b="1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lang="ko-KR" altLang="en-US" sz="1000" b="1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을 이용한 모듈 배면 부자재 점검</a:t>
                      </a:r>
                      <a:endParaRPr lang="ko-KR" altLang="en-US" sz="1000" b="1" kern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과제 유형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1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X for</a:t>
                      </a:r>
                      <a:r>
                        <a:rPr lang="en-US" altLang="ko-KR" sz="1000" b="1" kern="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Company</a:t>
                      </a:r>
                      <a:endParaRPr lang="ko-KR" altLang="en-US" sz="1000" b="1" kern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과제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행자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속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5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유병천</a:t>
                      </a:r>
                      <a:r>
                        <a:rPr lang="en-US" altLang="ko-KR" sz="105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Project Leader</a:t>
                      </a:r>
                      <a:endParaRPr lang="ko-KR" altLang="en-US" sz="1050" kern="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0"/>
                      <a:r>
                        <a:rPr lang="en-US" altLang="ko-KR" sz="9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UHD1 Project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795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과제 개요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 모듈 조립 후 진행하는 모듈 배면 부자재 부착 검사를 이미지 분석 모델을 이용한 자동화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yste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으로 개선하여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의 품질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생산성 향상 및 업무효율화에 기여함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R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75681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과제 성과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altLang="ko-KR" sz="1000" dirty="0" smtClean="0">
                        <a:solidFill>
                          <a:prstClr val="black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defTabSz="844083" latinLnBrk="0"/>
                      <a:r>
                        <a:rPr lang="en-US" altLang="ko-KR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- </a:t>
                      </a:r>
                      <a:r>
                        <a:rPr lang="ko-KR" altLang="en-US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부자재 부착 불량 판정의 정확도 및 검출 시간 향상</a:t>
                      </a:r>
                      <a:endParaRPr lang="en-US" altLang="ko-KR" sz="1000" b="0" kern="0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defTabSz="844083" latinLnBrk="0"/>
                      <a:r>
                        <a:rPr lang="en-US" altLang="ko-KR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- </a:t>
                      </a:r>
                      <a:r>
                        <a:rPr lang="ko-KR" altLang="en-US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불량률 감소로 인한 고객 만족도 증대</a:t>
                      </a:r>
                      <a:endParaRPr lang="en-US" altLang="ko-KR" sz="1000" b="0" kern="0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defTabSz="844083" latinLnBrk="0"/>
                      <a:r>
                        <a:rPr lang="en-US" altLang="ko-KR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-</a:t>
                      </a:r>
                      <a:r>
                        <a:rPr lang="en-US" altLang="ko-KR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DX</a:t>
                      </a:r>
                      <a:r>
                        <a:rPr lang="ko-KR" altLang="en-US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반 일하는 문화를 </a:t>
                      </a:r>
                      <a:r>
                        <a:rPr lang="en-US" altLang="ko-KR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M</a:t>
                      </a:r>
                      <a:r>
                        <a:rPr lang="ko-KR" altLang="en-US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사로까지 확대</a:t>
                      </a:r>
                      <a:endParaRPr lang="en-US" altLang="ko-KR" sz="1000" b="0" kern="0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defTabSz="844083" latinLnBrk="0"/>
                      <a:endParaRPr lang="en-US" altLang="ko-KR" sz="1000" b="0" kern="0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indent="0" defTabSz="844083" latinLnBrk="0">
                        <a:buFontTx/>
                        <a:buNone/>
                      </a:pPr>
                      <a:r>
                        <a:rPr lang="en-US" altLang="ko-KR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1000" b="0" kern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존에 </a:t>
                      </a:r>
                      <a:r>
                        <a:rPr lang="ko-KR" altLang="en-US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부자재 부착 불량을 검증했던 </a:t>
                      </a:r>
                      <a:r>
                        <a:rPr lang="ko-KR" altLang="en-US" sz="1000" b="0" kern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작업인원 감소</a:t>
                      </a:r>
                      <a:endParaRPr lang="en-US" altLang="ko-KR" sz="1000" b="0" kern="0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indent="0" defTabSz="844083" latinLnBrk="0">
                        <a:buFontTx/>
                        <a:buNone/>
                      </a:pPr>
                      <a:r>
                        <a:rPr lang="en-US" altLang="ko-KR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kern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→ 상세 감소 인원 검토 </a:t>
                      </a:r>
                      <a:r>
                        <a:rPr lang="en-US" altLang="ko-KR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M</a:t>
                      </a:r>
                      <a:r>
                        <a:rPr lang="ko-KR" altLang="en-US" sz="1000" b="0" kern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사 검토 진행 중</a:t>
                      </a:r>
                      <a:endParaRPr lang="en-US" altLang="ko-KR" sz="1000" b="0" kern="0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indent="0" defTabSz="844083" latinLnBrk="0">
                        <a:buFontTx/>
                        <a:buNone/>
                      </a:pPr>
                      <a:r>
                        <a:rPr lang="en-US" altLang="ko-KR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각 </a:t>
                      </a:r>
                      <a:r>
                        <a:rPr lang="ko-KR" altLang="en-US" sz="1000" b="0" kern="0" baseline="0" dirty="0" err="1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모델별</a:t>
                      </a:r>
                      <a:r>
                        <a:rPr lang="ko-KR" altLang="en-US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판정 결과의 </a:t>
                      </a:r>
                      <a:r>
                        <a:rPr lang="en-US" altLang="ko-KR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ata Base </a:t>
                      </a:r>
                      <a:r>
                        <a:rPr lang="ko-KR" altLang="en-US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축</a:t>
                      </a:r>
                      <a:endParaRPr lang="en-US" altLang="ko-KR" sz="1000" b="0" kern="0" baseline="0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indent="0" defTabSz="844083" latinLnBrk="0">
                        <a:buFontTx/>
                        <a:buNone/>
                      </a:pPr>
                      <a:r>
                        <a:rPr lang="en-US" altLang="ko-KR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</a:t>
                      </a:r>
                      <a:r>
                        <a:rPr lang="en-US" altLang="ko-KR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모듈 기인 불량률 감소</a:t>
                      </a:r>
                      <a:endParaRPr lang="ko-KR" altLang="en-US" sz="1000" b="0" kern="0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248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est Practice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1.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모듈 배면 양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/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불 판정 기준 수립 및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 Base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</a:t>
                      </a:r>
                      <a:endParaRPr kumimoji="1" lang="en-US" altLang="ko-KR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① 각 </a:t>
                      </a:r>
                      <a:r>
                        <a:rPr kumimoji="1" lang="ko-KR" altLang="en-US" sz="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모델별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부자재 부착 기준 수립 및 합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/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불 판정 결과 사진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 Base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</a:t>
                      </a:r>
                      <a:endParaRPr kumimoji="1" lang="en-US" altLang="ko-KR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②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BM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사 판정 기준의 표준화</a:t>
                      </a:r>
                      <a:endParaRPr kumimoji="1" lang="en-US" altLang="ko-KR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③ </a:t>
                      </a:r>
                      <a:r>
                        <a:rPr kumimoji="1" lang="ko-KR" altLang="en-US" sz="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모델별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/ </a:t>
                      </a:r>
                      <a:r>
                        <a:rPr kumimoji="1" lang="ko-KR" altLang="en-US" sz="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이벤트별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업로드를 통한 부착 정확도 비교 가능 </a:t>
                      </a:r>
                      <a:endParaRPr kumimoji="1" lang="en-US" altLang="ko-KR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2.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모듈 검사 과정의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X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적용을 위한 방안 제시</a:t>
                      </a: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①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BM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사 </a:t>
                      </a:r>
                      <a:r>
                        <a:rPr kumimoji="1" lang="ko-KR" altLang="en-US" sz="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검사시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양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/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불 판정에 대한 이미지 공유 요청</a:t>
                      </a: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②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ystem UI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 후 법인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/ BM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사로의 배포를 통한 확산전개</a:t>
                      </a: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3.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수립된 모델의 배포 및 수평전개</a:t>
                      </a:r>
                      <a:endParaRPr kumimoji="1" lang="en-US" altLang="ko-KR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① 구축된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ystem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의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Global (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법인 및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BM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사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)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배포 및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Feedback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취합</a:t>
                      </a:r>
                      <a:endParaRPr kumimoji="1" lang="en-US" altLang="ko-KR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② 판정 모델의 개선활동 증대 판정 성능 증대</a:t>
                      </a:r>
                      <a:endParaRPr kumimoji="1" lang="en-US" altLang="ko-KR" sz="7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36000" marR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19" name="표 1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9213146"/>
              </p:ext>
            </p:extLst>
          </p:nvPr>
        </p:nvGraphicFramePr>
        <p:xfrm>
          <a:off x="7424077" y="154644"/>
          <a:ext cx="2384718" cy="51312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4718"/>
              </a:tblGrid>
              <a:tr h="3809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X </a:t>
                      </a:r>
                      <a:r>
                        <a:rPr kumimoji="1" lang="ko-KR" altLang="en-US" sz="11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관련 주요 학습 이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091325"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. Domain DX </a:t>
                      </a:r>
                      <a:r>
                        <a:rPr lang="ko-KR" altLang="en-US" sz="1000" kern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역량인증 </a:t>
                      </a: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Level1 – Pass</a:t>
                      </a:r>
                    </a:p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[HE DX Booster </a:t>
                      </a:r>
                      <a:r>
                        <a:rPr lang="ko-KR" altLang="en-US" sz="1000" kern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교육</a:t>
                      </a: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]</a:t>
                      </a:r>
                    </a:p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. </a:t>
                      </a:r>
                      <a:r>
                        <a:rPr lang="ko-KR" altLang="en-US" sz="1000" kern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파이썬 프로그래밍</a:t>
                      </a: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32Hr)</a:t>
                      </a:r>
                    </a:p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. </a:t>
                      </a:r>
                      <a:r>
                        <a:rPr lang="ko-KR" altLang="en-US" sz="1000" kern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데이터 사이언스</a:t>
                      </a: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kern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통계분석</a:t>
                      </a: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(24Hr)</a:t>
                      </a:r>
                    </a:p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. </a:t>
                      </a:r>
                      <a:r>
                        <a:rPr lang="ko-KR" altLang="en-US" sz="1000" kern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디지털 역량강화</a:t>
                      </a: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kern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머신러닝</a:t>
                      </a: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(72Hr)</a:t>
                      </a:r>
                    </a:p>
                  </a:txBody>
                  <a:tcPr marL="36000" marR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809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X </a:t>
                      </a:r>
                      <a:r>
                        <a:rPr kumimoji="1" lang="ko-KR" altLang="en-US" sz="1100" b="1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관련 업무 및 과제 실행 이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278051"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0" kern="0" baseline="0" dirty="0" smtClean="0">
                          <a:solidFill>
                            <a:prstClr val="black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022</a:t>
                      </a:r>
                      <a:r>
                        <a:rPr lang="ko-KR" altLang="en-US" sz="1000" b="0" kern="0" baseline="0" dirty="0" smtClean="0">
                          <a:solidFill>
                            <a:prstClr val="black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년</a:t>
                      </a:r>
                      <a:endParaRPr lang="en-US" altLang="ko-KR" sz="1000" b="0" kern="0" baseline="0" dirty="0" smtClean="0">
                        <a:solidFill>
                          <a:prstClr val="black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0" kern="0" baseline="0" dirty="0" smtClean="0">
                          <a:solidFill>
                            <a:prstClr val="black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 DX LV1 </a:t>
                      </a:r>
                      <a:r>
                        <a:rPr lang="ko-KR" altLang="en-US" sz="1000" b="0" kern="0" baseline="0" dirty="0" smtClean="0">
                          <a:solidFill>
                            <a:prstClr val="black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취득</a:t>
                      </a:r>
                      <a:endParaRPr lang="en-US" altLang="ko-KR" sz="1000" b="0" kern="0" baseline="0" dirty="0" smtClean="0">
                        <a:solidFill>
                          <a:prstClr val="black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0" kern="0" baseline="0" dirty="0" smtClean="0">
                          <a:solidFill>
                            <a:prstClr val="black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 DX LV2 </a:t>
                      </a:r>
                      <a:r>
                        <a:rPr lang="ko-KR" altLang="en-US" sz="1000" b="0" kern="0" baseline="0" dirty="0" smtClean="0">
                          <a:solidFill>
                            <a:prstClr val="black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취득</a:t>
                      </a:r>
                      <a:r>
                        <a:rPr lang="en-US" altLang="ko-KR" sz="1000" b="0" kern="0" baseline="0" dirty="0" smtClean="0">
                          <a:solidFill>
                            <a:prstClr val="black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22.12)</a:t>
                      </a:r>
                    </a:p>
                  </a:txBody>
                  <a:tcPr marL="36000" marR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20" name="표 1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7580677"/>
              </p:ext>
            </p:extLst>
          </p:nvPr>
        </p:nvGraphicFramePr>
        <p:xfrm>
          <a:off x="164125" y="5398488"/>
          <a:ext cx="7452508" cy="5443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4644"/>
                <a:gridCol w="1064644"/>
                <a:gridCol w="1064644"/>
                <a:gridCol w="1064644"/>
                <a:gridCol w="1064644"/>
                <a:gridCol w="1064644"/>
                <a:gridCol w="1064644"/>
              </a:tblGrid>
              <a:tr h="3143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과제 </a:t>
                      </a:r>
                      <a:r>
                        <a:rPr kumimoji="1" lang="en-US" altLang="ko-KR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impact</a:t>
                      </a:r>
                      <a:endParaRPr kumimoji="1" lang="ko-KR" altLang="en-US" sz="1000" b="1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성공의</a:t>
                      </a:r>
                      <a:r>
                        <a:rPr kumimoji="1" lang="en-US" altLang="ko-KR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kumimoji="1" lang="ko-KR" altLang="en-US" sz="1000" b="1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정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문제해결 절차 충실도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변화관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성과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태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총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230023"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1" name="직사각형 120"/>
          <p:cNvSpPr/>
          <p:nvPr/>
        </p:nvSpPr>
        <p:spPr>
          <a:xfrm>
            <a:off x="1234126" y="1778530"/>
            <a:ext cx="787724" cy="16227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ko-KR" altLang="en-US" sz="900" b="1" kern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성적</a:t>
            </a:r>
            <a:r>
              <a:rPr lang="en-US" altLang="ko-KR" sz="900" b="1" kern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b="1" kern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성과</a:t>
            </a:r>
          </a:p>
        </p:txBody>
      </p:sp>
      <p:sp>
        <p:nvSpPr>
          <p:cNvPr id="122" name="직사각형 121"/>
          <p:cNvSpPr/>
          <p:nvPr/>
        </p:nvSpPr>
        <p:spPr>
          <a:xfrm>
            <a:off x="4154083" y="1778523"/>
            <a:ext cx="787724" cy="16227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ko-KR" altLang="en-US" sz="900" b="1" kern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량적</a:t>
            </a:r>
            <a:r>
              <a:rPr lang="en-US" altLang="ko-KR" sz="900" b="1" kern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b="1" kern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성과</a:t>
            </a:r>
          </a:p>
        </p:txBody>
      </p:sp>
    </p:spTree>
    <p:extLst>
      <p:ext uri="{BB962C8B-B14F-4D97-AF65-F5344CB8AC3E}">
        <p14:creationId xmlns:p14="http://schemas.microsoft.com/office/powerpoint/2010/main" val="4153781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모서리가 둥근 직사각형 1"/>
          <p:cNvSpPr/>
          <p:nvPr/>
        </p:nvSpPr>
        <p:spPr>
          <a:xfrm>
            <a:off x="272480" y="2221832"/>
            <a:ext cx="9484435" cy="4556916"/>
          </a:xfrm>
          <a:prstGeom prst="roundRect">
            <a:avLst>
              <a:gd name="adj" fmla="val 4696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449662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4. </a:t>
            </a:r>
            <a:r>
              <a:rPr lang="ko-KR" altLang="en-US" sz="2400" b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수행 절차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수행 성과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0" name="Text Box 57"/>
          <p:cNvSpPr txBox="1">
            <a:spLocks noChangeArrowheads="1"/>
          </p:cNvSpPr>
          <p:nvPr/>
        </p:nvSpPr>
        <p:spPr bwMode="auto">
          <a:xfrm>
            <a:off x="1352600" y="2295998"/>
            <a:ext cx="211536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2000" b="1" u="sng" dirty="0" smtClean="0">
                <a:latin typeface="LG스마트체 Regular" pitchFamily="50" charset="-127"/>
                <a:ea typeface="LG스마트체 Regular" pitchFamily="50" charset="-127"/>
              </a:rPr>
              <a:t>As-Is</a:t>
            </a:r>
            <a:endParaRPr lang="ko-KR" altLang="en-US" sz="2000" b="1" u="sng" dirty="0" smtClean="0"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1" name="Text Box 57"/>
          <p:cNvSpPr txBox="1">
            <a:spLocks noChangeArrowheads="1"/>
          </p:cNvSpPr>
          <p:nvPr/>
        </p:nvSpPr>
        <p:spPr bwMode="auto">
          <a:xfrm>
            <a:off x="6474673" y="2295998"/>
            <a:ext cx="211536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2000" b="1" u="sng" dirty="0" smtClean="0">
                <a:latin typeface="LG스마트체 Regular" pitchFamily="50" charset="-127"/>
                <a:ea typeface="LG스마트체 Regular" pitchFamily="50" charset="-127"/>
              </a:rPr>
              <a:t>To-Be</a:t>
            </a:r>
            <a:endParaRPr lang="ko-KR" altLang="en-US" sz="2000" b="1" u="sng" dirty="0" smtClean="0"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105903" y="6012101"/>
            <a:ext cx="25506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람이 육안으로 직접 불량을</a:t>
            </a:r>
            <a:endParaRPr lang="en-US" altLang="ko-KR" sz="16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별하는 전통적인 방법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119809" y="6012101"/>
            <a:ext cx="27911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미지 분석을 통한 자동화 불량</a:t>
            </a:r>
            <a:endParaRPr lang="en-US" altLang="ko-KR" sz="16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검출 시스템 구축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913836" y="74216"/>
            <a:ext cx="1980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reative thinking</a:t>
            </a:r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pSp>
        <p:nvGrpSpPr>
          <p:cNvPr id="32" name="그룹 31"/>
          <p:cNvGrpSpPr/>
          <p:nvPr/>
        </p:nvGrpSpPr>
        <p:grpSpPr>
          <a:xfrm>
            <a:off x="844291" y="3095089"/>
            <a:ext cx="3154495" cy="2738405"/>
            <a:chOff x="1784648" y="2300513"/>
            <a:chExt cx="3154495" cy="2738405"/>
          </a:xfrm>
        </p:grpSpPr>
        <p:pic>
          <p:nvPicPr>
            <p:cNvPr id="33" name="그림 32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2" t="1861" r="525" b="999"/>
            <a:stretch/>
          </p:blipFill>
          <p:spPr>
            <a:xfrm>
              <a:off x="1784648" y="3284984"/>
              <a:ext cx="3154495" cy="1753934"/>
            </a:xfrm>
            <a:prstGeom prst="rect">
              <a:avLst/>
            </a:prstGeom>
          </p:spPr>
        </p:pic>
        <p:grpSp>
          <p:nvGrpSpPr>
            <p:cNvPr id="34" name="그룹 33"/>
            <p:cNvGrpSpPr/>
            <p:nvPr/>
          </p:nvGrpSpPr>
          <p:grpSpPr>
            <a:xfrm>
              <a:off x="1928663" y="2300513"/>
              <a:ext cx="1098817" cy="1150780"/>
              <a:chOff x="1085246" y="3916763"/>
              <a:chExt cx="640729" cy="876052"/>
            </a:xfrm>
          </p:grpSpPr>
          <p:sp>
            <p:nvSpPr>
              <p:cNvPr id="36" name="사다리꼴 35"/>
              <p:cNvSpPr/>
              <p:nvPr/>
            </p:nvSpPr>
            <p:spPr bwMode="auto">
              <a:xfrm rot="19430140">
                <a:off x="1146455" y="4073335"/>
                <a:ext cx="579520" cy="719480"/>
              </a:xfrm>
              <a:prstGeom prst="trapezoid">
                <a:avLst>
                  <a:gd name="adj" fmla="val 2699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ko-KR" altLang="en-US" sz="1100" b="1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  <a:cs typeface="Arial" panose="020B0604020202020204" pitchFamily="34" charset="0"/>
                </a:endParaRPr>
              </a:p>
            </p:txBody>
          </p:sp>
          <p:pic>
            <p:nvPicPr>
              <p:cNvPr id="37" name="그림 36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085246" y="3916763"/>
                <a:ext cx="384379" cy="408839"/>
              </a:xfrm>
              <a:prstGeom prst="rect">
                <a:avLst/>
              </a:prstGeom>
            </p:spPr>
          </p:pic>
        </p:grpSp>
        <p:sp>
          <p:nvSpPr>
            <p:cNvPr id="35" name="Text Box 2"/>
            <p:cNvSpPr txBox="1">
              <a:spLocks noChangeArrowheads="1"/>
            </p:cNvSpPr>
            <p:nvPr/>
          </p:nvSpPr>
          <p:spPr bwMode="auto">
            <a:xfrm>
              <a:off x="2274717" y="2923927"/>
              <a:ext cx="620422" cy="2614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91311" tIns="45661" rIns="91311" bIns="45661">
              <a:spAutoFit/>
            </a:bodyPr>
            <a:lstStyle/>
            <a:p>
              <a:pPr fontAlgn="base">
                <a:spcAft>
                  <a:spcPct val="0"/>
                </a:spcAft>
              </a:pPr>
              <a:r>
                <a:rPr lang="en-US" altLang="ko-KR" sz="1100" dirty="0" smtClean="0">
                  <a:solidFill>
                    <a:srgbClr val="FF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  <a:cs typeface="Arial" charset="0"/>
                </a:rPr>
                <a:t>OK / NG</a:t>
              </a:r>
              <a:endParaRPr lang="en-US" altLang="ko-KR" sz="1100" dirty="0">
                <a:solidFill>
                  <a:srgbClr val="FF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endParaRPr>
            </a:p>
          </p:txBody>
        </p:sp>
      </p:grpSp>
      <p:pic>
        <p:nvPicPr>
          <p:cNvPr id="38" name="그림 3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" t="1861" r="525" b="999"/>
          <a:stretch/>
        </p:blipFill>
        <p:spPr>
          <a:xfrm>
            <a:off x="6199459" y="4105494"/>
            <a:ext cx="3107851" cy="1728000"/>
          </a:xfrm>
          <a:prstGeom prst="rect">
            <a:avLst/>
          </a:prstGeom>
        </p:spPr>
      </p:pic>
      <p:sp>
        <p:nvSpPr>
          <p:cNvPr id="39" name="사다리꼴 38"/>
          <p:cNvSpPr/>
          <p:nvPr/>
        </p:nvSpPr>
        <p:spPr bwMode="auto">
          <a:xfrm rot="2169860" flipH="1">
            <a:off x="8103904" y="3382824"/>
            <a:ext cx="1006425" cy="997968"/>
          </a:xfrm>
          <a:prstGeom prst="trapezoid">
            <a:avLst>
              <a:gd name="adj" fmla="val 26992"/>
            </a:avLst>
          </a:prstGeom>
          <a:solidFill>
            <a:schemeClr val="tx2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ko-KR" altLang="en-US" sz="11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40" name="그림 3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12096" y="3246818"/>
            <a:ext cx="873644" cy="599297"/>
          </a:xfrm>
          <a:prstGeom prst="rect">
            <a:avLst/>
          </a:prstGeom>
        </p:spPr>
      </p:pic>
      <p:sp>
        <p:nvSpPr>
          <p:cNvPr id="41" name="직사각형 40"/>
          <p:cNvSpPr/>
          <p:nvPr/>
        </p:nvSpPr>
        <p:spPr>
          <a:xfrm>
            <a:off x="8242205" y="2715825"/>
            <a:ext cx="151471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6435" indent="-46435"/>
            <a:r>
              <a:rPr lang="en-US" altLang="ko-KR" sz="2000" dirty="0">
                <a:solidFill>
                  <a:prstClr val="black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Vision </a:t>
            </a:r>
            <a:r>
              <a:rPr lang="en-US" altLang="ko-KR" sz="2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camera</a:t>
            </a:r>
            <a:endParaRPr lang="ko-KR" altLang="en-US" sz="2000" dirty="0">
              <a:solidFill>
                <a:prstClr val="black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6208453" y="3494905"/>
            <a:ext cx="1431802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6435" indent="-46435"/>
            <a:r>
              <a:rPr lang="en-US" altLang="ko-KR" sz="15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- Auto Sensing</a:t>
            </a:r>
          </a:p>
          <a:p>
            <a:pPr marL="46435" indent="-46435"/>
            <a:r>
              <a:rPr lang="en-US" altLang="ko-KR" sz="15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- No Human Error</a:t>
            </a:r>
            <a:endParaRPr lang="ko-KR" altLang="en-US" sz="1500" dirty="0">
              <a:solidFill>
                <a:prstClr val="black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43" name="이등변 삼각형 42"/>
          <p:cNvSpPr/>
          <p:nvPr/>
        </p:nvSpPr>
        <p:spPr bwMode="auto">
          <a:xfrm rot="5400000">
            <a:off x="4296104" y="4437031"/>
            <a:ext cx="1340067" cy="1087820"/>
          </a:xfrm>
          <a:prstGeom prst="triangle">
            <a:avLst/>
          </a:prstGeom>
          <a:gradFill flip="none" rotWithShape="1">
            <a:gsLst>
              <a:gs pos="37000">
                <a:schemeClr val="tx1">
                  <a:lumMod val="50000"/>
                  <a:lumOff val="50000"/>
                </a:schemeClr>
              </a:gs>
              <a:gs pos="85000">
                <a:schemeClr val="bg1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" tIns="0" rIns="7200" bIns="0"/>
          <a:lstStyle>
            <a:defPPr>
              <a:defRPr lang="ko-KR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342900" indent="-342900">
              <a:defRPr/>
            </a:pPr>
            <a:endParaRPr lang="ko-KR" altLang="en-US" sz="1200" b="1" dirty="0">
              <a:solidFill>
                <a:prstClr val="black"/>
              </a:solidFill>
              <a:latin typeface="Arial" panose="020B0604020202020204" pitchFamily="34" charset="0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2506184" y="3473884"/>
            <a:ext cx="1415772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6435" indent="-46435"/>
            <a:r>
              <a:rPr lang="en-US" altLang="ko-KR" sz="15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- Manual Sensing</a:t>
            </a:r>
          </a:p>
          <a:p>
            <a:pPr marL="46435" indent="-46435"/>
            <a:r>
              <a:rPr lang="en-US" altLang="ko-KR" sz="15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- Human Error</a:t>
            </a:r>
            <a:endParaRPr lang="ko-KR" altLang="en-US" sz="1500" dirty="0">
              <a:solidFill>
                <a:prstClr val="black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756212" y="2715825"/>
            <a:ext cx="134363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6435" indent="-46435"/>
            <a:r>
              <a:rPr lang="en-US" altLang="ko-KR" sz="2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Human EYE</a:t>
            </a:r>
            <a:endParaRPr lang="ko-KR" altLang="en-US" sz="2000" dirty="0">
              <a:solidFill>
                <a:prstClr val="black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46" name="Text Box 2"/>
          <p:cNvSpPr txBox="1">
            <a:spLocks noChangeArrowheads="1"/>
          </p:cNvSpPr>
          <p:nvPr/>
        </p:nvSpPr>
        <p:spPr bwMode="auto">
          <a:xfrm>
            <a:off x="8171339" y="3870903"/>
            <a:ext cx="620422" cy="2614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311" tIns="45661" rIns="91311" bIns="45661">
            <a:spAutoFit/>
          </a:bodyPr>
          <a:lstStyle/>
          <a:p>
            <a:pPr fontAlgn="base">
              <a:spcAft>
                <a:spcPct val="0"/>
              </a:spcAft>
            </a:pPr>
            <a:r>
              <a:rPr lang="en-US" altLang="ko-KR" sz="1100" dirty="0" smtClean="0">
                <a:solidFill>
                  <a:srgbClr val="FF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OK / NG</a:t>
            </a:r>
            <a:endParaRPr lang="en-US" altLang="ko-KR" sz="1100" dirty="0">
              <a:solidFill>
                <a:srgbClr val="FF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36471" y="692783"/>
            <a:ext cx="9635971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① 이미지 분석을 통한 자동화 불량 검출 시스템을 구축함으로써 사람이 육안으로 불량을 판별함에 따른</a:t>
            </a:r>
            <a:endParaRPr lang="en-US" altLang="ko-KR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</a:t>
            </a:r>
            <a:r>
              <a:rPr lang="en-US" altLang="ko-KR" u="sng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uman Error</a:t>
            </a:r>
            <a:r>
              <a:rPr lang="ko-KR" altLang="en-US" u="sng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방지</a:t>
            </a:r>
            <a:r>
              <a:rPr lang="ko-KR" altLang="en-US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하며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를 통해 </a:t>
            </a:r>
            <a:r>
              <a:rPr lang="ko-KR" altLang="en-US" u="sng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량 판정 인원을 감축</a:t>
            </a:r>
            <a:r>
              <a:rPr lang="ko-KR" altLang="en-US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및 </a:t>
            </a:r>
            <a:r>
              <a:rPr lang="ko-KR" altLang="en-US" u="sng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 효율화를 극대화</a:t>
            </a:r>
            <a:r>
              <a:rPr lang="ko-KR" altLang="en-US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할 수 있다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  <a:p>
            <a:endParaRPr lang="en-US" altLang="ko-KR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② 주요 협력사인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에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</a:t>
            </a:r>
            <a:r>
              <a:rPr lang="ko-KR" altLang="en-US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활동 및 문화를 전파하고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</a:t>
            </a:r>
            <a:r>
              <a:rPr lang="ko-KR" altLang="en-US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역량 강화 및 문화를 확산함으로써</a:t>
            </a:r>
            <a:endParaRPr lang="en-US" altLang="ko-KR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</a:t>
            </a:r>
            <a:r>
              <a:rPr lang="en-US" altLang="ko-KR" u="sng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u="sng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의 품질</a:t>
            </a:r>
            <a:r>
              <a:rPr lang="en-US" altLang="ko-KR" u="sng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u="sng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성 향상 및 업무효율화에 </a:t>
            </a:r>
            <a:r>
              <a:rPr lang="ko-KR" altLang="en-US" u="sng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여</a:t>
            </a:r>
            <a:r>
              <a:rPr lang="ko-KR" altLang="en-US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할 수 있다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83151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4292842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4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수행 절차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en-US" altLang="ko-KR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CNN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을 이용한 성능 판별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1612" y="700231"/>
            <a:ext cx="8840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취합된 이미지 데이터를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rain Set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lidation Set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으로 임의 분류한 뒤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NN 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수립 진행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480" y="1989222"/>
            <a:ext cx="4439477" cy="2542673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2322" y="2025316"/>
            <a:ext cx="4928068" cy="247048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80692" y="1107726"/>
            <a:ext cx="56092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원활한 학습을 위해 이미지 전처리 진행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미지 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ize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축소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913836" y="74216"/>
            <a:ext cx="17764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ritical thinking</a:t>
            </a:r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35392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363" y="2141454"/>
            <a:ext cx="4840907" cy="3467654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510" y="4673673"/>
            <a:ext cx="4536504" cy="772886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7136" y="2475395"/>
            <a:ext cx="4323878" cy="2226155"/>
          </a:xfrm>
          <a:prstGeom prst="rect">
            <a:avLst/>
          </a:prstGeom>
        </p:spPr>
      </p:pic>
      <p:sp>
        <p:nvSpPr>
          <p:cNvPr id="8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4292842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4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수행 절차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en-US" altLang="ko-KR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CNN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을 이용한 성능 판별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4665" y="703945"/>
            <a:ext cx="8566769" cy="6565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NN 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의 성능 판별 결과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rediction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.6 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도로 양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 판별에 적합하지 않다 판단됨</a:t>
            </a:r>
            <a:endParaRPr lang="en-US" altLang="ko-KR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ts val="2200"/>
              </a:lnSpc>
            </a:pP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학습 횟수를 증가시켜도 판별 성능은 향상되지 않음</a:t>
            </a:r>
            <a:endParaRPr lang="en-US" altLang="ko-KR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913836" y="74216"/>
            <a:ext cx="17764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ritical thinking</a:t>
            </a:r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5968" y="1318801"/>
            <a:ext cx="5650906" cy="362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Yolov5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이용한 판정으로 변경하여 재 판별하기로 결정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27636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4369786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4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수행 절차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en-US" altLang="ko-KR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YOLO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를 이용한 성능 판별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36843" y="698555"/>
            <a:ext cx="9225472" cy="36961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en-US" altLang="ko-KR" sz="2000" b="1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boflow</a:t>
            </a:r>
            <a:r>
              <a:rPr lang="en-US" altLang="ko-KR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업로드 진행</a:t>
            </a:r>
            <a:endParaRPr lang="ko-KR" altLang="en-US" sz="20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11" name="Picture 2" descr="https://blog.kakaocdn.net/dn/bHMGmW/btrrbSwpo6a/me3rNkXwuMrbpNWEngknJ0/img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00" r="3922" b="5096"/>
          <a:stretch/>
        </p:blipFill>
        <p:spPr bwMode="auto">
          <a:xfrm>
            <a:off x="1105718" y="2005792"/>
            <a:ext cx="6578450" cy="1276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그룹 19"/>
          <p:cNvGrpSpPr/>
          <p:nvPr/>
        </p:nvGrpSpPr>
        <p:grpSpPr>
          <a:xfrm>
            <a:off x="533947" y="1083022"/>
            <a:ext cx="6586108" cy="644800"/>
            <a:chOff x="533947" y="963965"/>
            <a:chExt cx="6586108" cy="644800"/>
          </a:xfrm>
        </p:grpSpPr>
        <p:sp>
          <p:nvSpPr>
            <p:cNvPr id="8" name="Text Box 57">
              <a:extLst>
                <a:ext uri="{FF2B5EF4-FFF2-40B4-BE49-F238E27FC236}">
                  <a16:creationId xmlns:a16="http://schemas.microsoft.com/office/drawing/2014/main" xmlns="" id="{DD46D738-9FF9-B166-9EB5-2C6B3202001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3947" y="963965"/>
              <a:ext cx="6159710" cy="3298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0800" tIns="10800" rIns="10800" bIns="10800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ko-KR" altLang="en-US" sz="1800" dirty="0" smtClean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원활한 이미지 </a:t>
              </a:r>
              <a:r>
                <a:rPr lang="ko-KR" altLang="en-US" sz="1800" dirty="0" err="1" smtClean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전처리를</a:t>
              </a:r>
              <a:r>
                <a:rPr lang="ko-KR" altLang="en-US" sz="1800" dirty="0" smtClean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 위해 별도의 프로그램인 </a:t>
              </a:r>
              <a:r>
                <a:rPr lang="en-US" altLang="ko-KR" sz="1800" dirty="0" err="1" smtClean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Roboflow</a:t>
              </a:r>
              <a:r>
                <a:rPr lang="ko-KR" altLang="en-US" sz="1800" dirty="0" smtClean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를 이용</a:t>
              </a:r>
              <a:endParaRPr lang="en-US" altLang="ko-KR" sz="18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2" name="Text Box 57">
              <a:extLst>
                <a:ext uri="{FF2B5EF4-FFF2-40B4-BE49-F238E27FC236}">
                  <a16:creationId xmlns:a16="http://schemas.microsoft.com/office/drawing/2014/main" xmlns="" id="{DD46D738-9FF9-B166-9EB5-2C6B3202001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3947" y="1278921"/>
              <a:ext cx="6586108" cy="3298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0800" tIns="10800" rIns="10800" bIns="10800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ko-KR" altLang="en-US" sz="1800" dirty="0" smtClean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이미지의 전처리 및 증량</a:t>
              </a:r>
              <a:r>
                <a:rPr lang="en-US" altLang="ko-KR" sz="1800" dirty="0" smtClean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, Dataset</a:t>
              </a:r>
              <a:r>
                <a:rPr lang="ko-KR" altLang="en-US" sz="1800" dirty="0" smtClean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의 분류</a:t>
              </a:r>
              <a:r>
                <a:rPr lang="en-US" altLang="ko-KR" sz="1800" dirty="0" smtClean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(Train / Valid / Test)</a:t>
              </a:r>
              <a:r>
                <a:rPr lang="ko-KR" altLang="en-US" sz="1800" dirty="0" smtClean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에 용이</a:t>
              </a:r>
              <a:endParaRPr lang="en-US" altLang="ko-KR" sz="18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13" name="직사각형 12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36843" y="3374111"/>
            <a:ext cx="9225472" cy="36961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en-US" altLang="ko-KR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ounding Box 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설정</a:t>
            </a:r>
            <a:endParaRPr lang="ko-KR" altLang="en-US" sz="20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4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643" y="3697114"/>
            <a:ext cx="4970281" cy="329844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양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 판정을 위해 각 이미지 별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ounding Box 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설정</a:t>
            </a:r>
            <a:endParaRPr lang="en-US" altLang="ko-KR" sz="18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643" y="3980988"/>
            <a:ext cx="6757629" cy="329844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pe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부착 위치를 감안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총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의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lass 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성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OK_L, OK_R, NG_L, NG_R)</a:t>
            </a:r>
            <a:endParaRPr lang="en-US" altLang="ko-KR" sz="18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18" name="그림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6320" y="4452228"/>
            <a:ext cx="4066544" cy="1947086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913836" y="74216"/>
            <a:ext cx="17764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ritical thinking</a:t>
            </a:r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58499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36845" y="700028"/>
            <a:ext cx="9225472" cy="39227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ko-KR" altLang="en-US" sz="2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이미지 </a:t>
            </a:r>
            <a:r>
              <a:rPr lang="en-US" altLang="ko-KR" sz="2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Data</a:t>
            </a:r>
            <a:r>
              <a:rPr lang="ko-KR" altLang="en-US" sz="2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의</a:t>
            </a:r>
            <a:r>
              <a:rPr lang="en-US" altLang="ko-KR" sz="2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2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증량 작업 진행</a:t>
            </a:r>
            <a:endParaRPr lang="ko-KR" altLang="en-US" sz="2000" b="1" dirty="0">
              <a:solidFill>
                <a:srgbClr val="C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7238" y="1104380"/>
            <a:ext cx="8998627" cy="612742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개발 </a:t>
            </a:r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Event</a:t>
            </a: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시 모듈 조립 수량은 </a:t>
            </a:r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100</a:t>
            </a: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대 이내로 </a:t>
            </a:r>
            <a:r>
              <a:rPr lang="ko-KR" altLang="en-US" sz="16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머신러닝에</a:t>
            </a: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 활용하기에 충분한 </a:t>
            </a:r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Data</a:t>
            </a: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를 확보하기에는 어려움이 있음</a:t>
            </a:r>
            <a:endParaRPr lang="en-US" altLang="ko-KR" sz="16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→ 원활한 학습 </a:t>
            </a:r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Data </a:t>
            </a: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확보를 위해</a:t>
            </a:r>
            <a:r>
              <a:rPr lang="en-US" altLang="ko-KR" sz="16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 </a:t>
            </a:r>
            <a:r>
              <a:rPr lang="en-US" altLang="ko-KR" sz="16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Roboflow</a:t>
            </a: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의 </a:t>
            </a:r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Augmentation </a:t>
            </a: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기능을 활용하여 이미지 증량</a:t>
            </a:r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 </a:t>
            </a: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작업 진행</a:t>
            </a:r>
            <a:endParaRPr lang="en-US" altLang="ko-KR" sz="16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pic>
        <p:nvPicPr>
          <p:cNvPr id="7" name="Picture 4" descr="https://blog.kakaocdn.net/dn/ehgfsU/btrrPYaqSTA/8ei0a9zWP4XkXBqvFbzkpk/img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8" t="2137" r="3723" b="40557"/>
          <a:stretch/>
        </p:blipFill>
        <p:spPr bwMode="auto">
          <a:xfrm>
            <a:off x="765127" y="2118686"/>
            <a:ext cx="3150603" cy="3087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그림 7"/>
          <p:cNvPicPr>
            <a:picLocks noChangeAspect="1"/>
          </p:cNvPicPr>
          <p:nvPr/>
        </p:nvPicPr>
        <p:blipFill rotWithShape="1">
          <a:blip r:embed="rId3"/>
          <a:srcRect t="4207" r="5682" b="3962"/>
          <a:stretch/>
        </p:blipFill>
        <p:spPr>
          <a:xfrm>
            <a:off x="4511801" y="2494348"/>
            <a:ext cx="4776745" cy="2181926"/>
          </a:xfrm>
          <a:prstGeom prst="rect">
            <a:avLst/>
          </a:prstGeom>
        </p:spPr>
      </p:pic>
      <p:sp>
        <p:nvSpPr>
          <p:cNvPr id="9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4369786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4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수행 절차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en-US" altLang="ko-KR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YOLO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를 이용한 성능 판별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0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64854" y="6079795"/>
            <a:ext cx="2955306" cy="294258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Rotation, Noise </a:t>
            </a:r>
            <a:r>
              <a:rPr lang="ko-KR" altLang="en-US" sz="1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선택 후 </a:t>
            </a:r>
            <a:r>
              <a:rPr lang="en-US" altLang="ko-KR" sz="1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3</a:t>
            </a:r>
            <a:r>
              <a:rPr lang="ko-KR" altLang="en-US" sz="1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배 증량 진행</a:t>
            </a:r>
            <a:endParaRPr lang="en-US" altLang="ko-KR" sz="1600" dirty="0">
              <a:solidFill>
                <a:srgbClr val="008000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913836" y="74216"/>
            <a:ext cx="17764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ritical thinking</a:t>
            </a:r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" name="오른쪽으로 구부러진 화살표 1"/>
          <p:cNvSpPr/>
          <p:nvPr/>
        </p:nvSpPr>
        <p:spPr>
          <a:xfrm rot="16200000">
            <a:off x="4366510" y="4216415"/>
            <a:ext cx="648072" cy="2907160"/>
          </a:xfrm>
          <a:prstGeom prst="curvedRightArrow">
            <a:avLst>
              <a:gd name="adj1" fmla="val 62405"/>
              <a:gd name="adj2" fmla="val 157729"/>
              <a:gd name="adj3" fmla="val 50991"/>
            </a:avLst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32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4369786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4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수행 절차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en-US" altLang="ko-KR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YOLO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를 </a:t>
            </a:r>
            <a:r>
              <a:rPr lang="ko-KR" altLang="en-US" sz="16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이용한 성능 판별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35060" y="701180"/>
            <a:ext cx="9225472" cy="39227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ko-KR" altLang="en-US" sz="2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판정 성능 검증</a:t>
            </a:r>
            <a:endParaRPr lang="ko-KR" altLang="en-US" sz="2000" b="1" dirty="0">
              <a:solidFill>
                <a:srgbClr val="C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9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52600" y="4634626"/>
            <a:ext cx="7078230" cy="1339608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ts val="25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을 위한 초기 모델링 수립 후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ensor Board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이용하여 판정 성능 확인</a:t>
            </a:r>
            <a:endParaRPr lang="en-US" altLang="ko-KR" sz="16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endParaRPr lang="en-US" altLang="ko-KR" sz="11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양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 판정에 대한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회 학습 시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recision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및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ecall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 낮아 판정 유효성이 떨어짐</a:t>
            </a:r>
            <a:endParaRPr lang="en-US" altLang="ko-KR" sz="16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endParaRPr lang="en-US" altLang="ko-KR" sz="11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정확도를 높이기 위해 추가 학습이 필요할 것으로 판단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1435171" y="1850196"/>
            <a:ext cx="6305146" cy="2573641"/>
            <a:chOff x="416496" y="2087273"/>
            <a:chExt cx="6612437" cy="2699071"/>
          </a:xfrm>
        </p:grpSpPr>
        <p:pic>
          <p:nvPicPr>
            <p:cNvPr id="8" name="그림 7"/>
            <p:cNvPicPr>
              <a:picLocks noChangeAspect="1"/>
            </p:cNvPicPr>
            <p:nvPr/>
          </p:nvPicPr>
          <p:blipFill rotWithShape="1">
            <a:blip r:embed="rId2"/>
            <a:srcRect l="-1" t="3664" r="677" b="3240"/>
            <a:stretch/>
          </p:blipFill>
          <p:spPr>
            <a:xfrm>
              <a:off x="416496" y="2087273"/>
              <a:ext cx="6612437" cy="2350260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/>
          </p:nvSpPr>
          <p:spPr>
            <a:xfrm>
              <a:off x="1640632" y="4478567"/>
              <a:ext cx="162256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400" dirty="0" smtClean="0">
                  <a:solidFill>
                    <a:srgbClr val="008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Precision : 0.4101</a:t>
              </a:r>
              <a:endParaRPr lang="ko-KR" altLang="en-US" sz="1400" dirty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055426" y="4478567"/>
              <a:ext cx="137249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400" dirty="0" smtClean="0">
                  <a:solidFill>
                    <a:srgbClr val="008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Recall : 0.8338</a:t>
              </a:r>
              <a:endParaRPr lang="ko-KR" altLang="en-US" sz="1400" dirty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12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9434" y="1073523"/>
            <a:ext cx="6512370" cy="354210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YOLOv5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이용하여 양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 판정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회 학습 진행 후 판정 정확도 분석</a:t>
            </a:r>
            <a:endParaRPr lang="en-US" altLang="ko-KR" sz="18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913836" y="74216"/>
            <a:ext cx="17764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ritical thinking</a:t>
            </a:r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89901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4425892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4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수행 절차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en-US" altLang="ko-KR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YOLO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를 이용한 성능 판별 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36471" y="700016"/>
            <a:ext cx="9225472" cy="39227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 판정 성능 검증</a:t>
            </a:r>
            <a:endParaRPr lang="ko-KR" altLang="en-US" sz="2000" b="1" dirty="0">
              <a:solidFill>
                <a:srgbClr val="C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3669" y="1091030"/>
            <a:ext cx="6962814" cy="329844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80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머신러닝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모델의 학습 횟수를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0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회로 증량한 후 판정 정확도 개선 여부 확인</a:t>
            </a:r>
            <a:endParaRPr lang="en-US" altLang="ko-KR" sz="18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3976" y="1719066"/>
            <a:ext cx="4897772" cy="178819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2338282" y="3502162"/>
            <a:ext cx="16225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recision : 0.9711</a:t>
            </a:r>
            <a:endParaRPr lang="ko-KR" altLang="en-US" sz="1400" dirty="0">
              <a:solidFill>
                <a:srgbClr val="008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084837" y="3518204"/>
            <a:ext cx="13724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ecall : 0.9997</a:t>
            </a:r>
            <a:endParaRPr lang="ko-KR" altLang="en-US" sz="1400" dirty="0">
              <a:solidFill>
                <a:srgbClr val="008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7245" y="3860685"/>
            <a:ext cx="6860221" cy="612742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※ 30</a:t>
            </a: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회 학습 </a:t>
            </a:r>
            <a:r>
              <a:rPr lang="ko-KR" altLang="en-US" sz="16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진행시</a:t>
            </a: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 </a:t>
            </a:r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Precision </a:t>
            </a: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및 </a:t>
            </a:r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Recall</a:t>
            </a: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이 </a:t>
            </a:r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1</a:t>
            </a: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에 근접하여 양 </a:t>
            </a:r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/ </a:t>
            </a: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불 판정이 가능하다 판단함</a:t>
            </a:r>
            <a:endParaRPr lang="en-US" altLang="ko-KR" sz="16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   → 수립된 판정 모델로</a:t>
            </a:r>
            <a:r>
              <a:rPr lang="en-US" altLang="ko-KR" sz="16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 </a:t>
            </a:r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Validation Set</a:t>
            </a:r>
            <a:r>
              <a:rPr lang="ko-KR" altLang="en-US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의 판정 성능 확인 절차 진행</a:t>
            </a:r>
            <a:endParaRPr lang="en-US" altLang="ko-KR" sz="16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70711" y="4849676"/>
            <a:ext cx="7125225" cy="1483163"/>
            <a:chOff x="109764" y="4653698"/>
            <a:chExt cx="8064500" cy="1678679"/>
          </a:xfrm>
        </p:grpSpPr>
        <p:pic>
          <p:nvPicPr>
            <p:cNvPr id="16" name="그림 15"/>
            <p:cNvPicPr>
              <a:picLocks noChangeAspect="1"/>
            </p:cNvPicPr>
            <p:nvPr/>
          </p:nvPicPr>
          <p:blipFill rotWithShape="1">
            <a:blip r:embed="rId3"/>
            <a:srcRect r="35695" b="87079"/>
            <a:stretch/>
          </p:blipFill>
          <p:spPr>
            <a:xfrm>
              <a:off x="109764" y="4653698"/>
              <a:ext cx="8064500" cy="571819"/>
            </a:xfrm>
            <a:prstGeom prst="rect">
              <a:avLst/>
            </a:prstGeom>
          </p:spPr>
        </p:pic>
        <p:pic>
          <p:nvPicPr>
            <p:cNvPr id="19" name="그림 18"/>
            <p:cNvPicPr>
              <a:picLocks noChangeAspect="1"/>
            </p:cNvPicPr>
            <p:nvPr/>
          </p:nvPicPr>
          <p:blipFill rotWithShape="1">
            <a:blip r:embed="rId3"/>
            <a:srcRect t="20209" r="35695" b="52896"/>
            <a:stretch/>
          </p:blipFill>
          <p:spPr>
            <a:xfrm>
              <a:off x="109764" y="5142115"/>
              <a:ext cx="8064500" cy="1190262"/>
            </a:xfrm>
            <a:prstGeom prst="rect">
              <a:avLst/>
            </a:prstGeom>
          </p:spPr>
        </p:pic>
      </p:grpSp>
      <p:sp>
        <p:nvSpPr>
          <p:cNvPr id="17" name="직사각형 16"/>
          <p:cNvSpPr/>
          <p:nvPr/>
        </p:nvSpPr>
        <p:spPr>
          <a:xfrm>
            <a:off x="7052176" y="5481322"/>
            <a:ext cx="599908" cy="93845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TextBox 22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4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62917" y="4572209"/>
            <a:ext cx="5138596" cy="224943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1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* </a:t>
            </a:r>
            <a:r>
              <a:rPr lang="ko-KR" altLang="en-US" sz="11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학습횟수를 증가시킬 경우 학습시간이 과도하게 </a:t>
            </a:r>
            <a:r>
              <a:rPr lang="ko-KR" altLang="en-US" sz="11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오래 걸려 실무적으로 사용하기에는 부적합</a:t>
            </a:r>
            <a:endParaRPr lang="en-US" altLang="ko-KR" sz="1100" dirty="0">
              <a:solidFill>
                <a:srgbClr val="008000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913836" y="74216"/>
            <a:ext cx="17764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ritical thinking</a:t>
            </a:r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22341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749424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4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수행 절차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판정 </a:t>
            </a:r>
            <a:r>
              <a:rPr lang="en-US" altLang="ko-KR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System 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검증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147901" y="2342129"/>
            <a:ext cx="9559744" cy="1728000"/>
            <a:chOff x="147901" y="2122600"/>
            <a:chExt cx="9559744" cy="1728000"/>
          </a:xfrm>
        </p:grpSpPr>
        <p:pic>
          <p:nvPicPr>
            <p:cNvPr id="5" name="그림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369693" y="2122600"/>
              <a:ext cx="3152472" cy="1728000"/>
            </a:xfrm>
            <a:prstGeom prst="rect">
              <a:avLst/>
            </a:prstGeom>
          </p:spPr>
        </p:pic>
        <p:pic>
          <p:nvPicPr>
            <p:cNvPr id="6" name="그림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7901" y="2122600"/>
              <a:ext cx="3118598" cy="1728000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25359" y="2122600"/>
              <a:ext cx="3082286" cy="1728000"/>
            </a:xfrm>
            <a:prstGeom prst="rect">
              <a:avLst/>
            </a:prstGeom>
          </p:spPr>
        </p:pic>
      </p:grp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36845" y="707756"/>
            <a:ext cx="9225472" cy="39227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판정 </a:t>
            </a:r>
            <a:r>
              <a:rPr lang="en-US" altLang="ko-KR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System 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검증진행</a:t>
            </a:r>
            <a:endParaRPr lang="ko-KR" altLang="en-US" sz="20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2261" y="1104501"/>
            <a:ext cx="6672671" cy="686608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lidation Set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을 이용하여 이미지 판정 확인 진행</a:t>
            </a:r>
            <a:endParaRPr lang="en-US" altLang="ko-KR" sz="18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미지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0ea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통해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양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 판정 </a:t>
            </a:r>
            <a:r>
              <a:rPr lang="ko-KR" altLang="en-US" sz="180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진행시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판정 정확도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0%</a:t>
            </a:r>
            <a:r>
              <a:rPr lang="ko-KR" altLang="en-US" sz="18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달성 확인</a:t>
            </a:r>
            <a:endParaRPr lang="en-US" altLang="ko-KR" sz="18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12096" y="4823211"/>
            <a:ext cx="4995930" cy="686608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YOLOv5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통한 모듈 불량 판별의 유효성이 </a:t>
            </a:r>
            <a:r>
              <a:rPr lang="ko-KR" altLang="en-US" sz="18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있다 판단</a:t>
            </a:r>
            <a:endParaRPr lang="en-US" altLang="ko-KR" sz="18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수평전개 및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ystem 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축 가능성 검토 진행</a:t>
            </a:r>
            <a:endParaRPr lang="en-US" altLang="ko-KR" sz="18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913836" y="74216"/>
            <a:ext cx="17764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ritical thinking</a:t>
            </a:r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" name="아래쪽 화살표 2"/>
          <p:cNvSpPr/>
          <p:nvPr/>
        </p:nvSpPr>
        <p:spPr>
          <a:xfrm rot="16200000">
            <a:off x="1752828" y="4511613"/>
            <a:ext cx="813681" cy="1359568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04208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4398640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5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성공 및 변화 관리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모델 공유 및 확대전개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36471" y="700579"/>
            <a:ext cx="9225472" cy="39227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동일 </a:t>
            </a:r>
            <a:r>
              <a:rPr lang="en-US" altLang="ko-KR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System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을 활용한 타 모델 확대전개 검토</a:t>
            </a:r>
            <a:endParaRPr lang="ko-KR" altLang="en-US" sz="20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6651" y="1096676"/>
            <a:ext cx="9024275" cy="908207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현재 양산중인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5QNED99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의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pe 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부착 검증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ystem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립을 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통해 검증 모델의 확대전개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능여부 검토</a:t>
            </a:r>
            <a:endParaRPr lang="en-US" altLang="ko-KR" sz="16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유효성 검증 결과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recision </a:t>
            </a:r>
            <a:r>
              <a:rPr lang="en-US" altLang="ko-KR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.998, Recall 0.999</a:t>
            </a:r>
            <a:r>
              <a:rPr lang="ko-KR" altLang="en-US" sz="16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로 판정 유효성 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확인</a:t>
            </a:r>
            <a:endParaRPr lang="en-US" altLang="ko-KR" sz="16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lid Set 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미지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0ea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활용한 양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 판정 결과 </a:t>
            </a:r>
            <a:r>
              <a:rPr lang="ko-KR" altLang="en-US" sz="16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확도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0% 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달성함 확인</a:t>
            </a:r>
            <a:endParaRPr lang="en-US" altLang="ko-KR" sz="16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9" name="Picture 157">
            <a:extLst>
              <a:ext uri="{FF2B5EF4-FFF2-40B4-BE49-F238E27FC236}">
                <a16:creationId xmlns="" xmlns:a16="http://schemas.microsoft.com/office/drawing/2014/main" id="{0079F91E-13A8-46C6-8F13-408B0D29709E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159" y="2069985"/>
            <a:ext cx="3406747" cy="212921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59">
            <a:extLst>
              <a:ext uri="{FF2B5EF4-FFF2-40B4-BE49-F238E27FC236}">
                <a16:creationId xmlns="" xmlns:a16="http://schemas.microsoft.com/office/drawing/2014/main" id="{AE76FEC3-BBA6-477F-8E2B-FD72BE786581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0120" y="2037707"/>
            <a:ext cx="3447704" cy="215481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그림 10">
            <a:extLst>
              <a:ext uri="{FF2B5EF4-FFF2-40B4-BE49-F238E27FC236}">
                <a16:creationId xmlns="" xmlns:a16="http://schemas.microsoft.com/office/drawing/2014/main" id="{55643590-1594-4BB5-B32A-096D8B09AFC3}"/>
              </a:ext>
            </a:extLst>
          </p:cNvPr>
          <p:cNvPicPr preferRelativeResize="0"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1434" y="4447362"/>
            <a:ext cx="2592289" cy="181460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2" name="그림 11">
            <a:extLst>
              <a:ext uri="{FF2B5EF4-FFF2-40B4-BE49-F238E27FC236}">
                <a16:creationId xmlns="" xmlns:a16="http://schemas.microsoft.com/office/drawing/2014/main" id="{49E6D4E4-7870-4176-9770-494E9A2AED1E}"/>
              </a:ext>
            </a:extLst>
          </p:cNvPr>
          <p:cNvPicPr preferRelativeResize="0"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6940" y="4487468"/>
            <a:ext cx="2592000" cy="18144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59068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모서리가 둥근 직사각형 1"/>
          <p:cNvSpPr/>
          <p:nvPr/>
        </p:nvSpPr>
        <p:spPr>
          <a:xfrm>
            <a:off x="325988" y="2025870"/>
            <a:ext cx="9299467" cy="4246409"/>
          </a:xfrm>
          <a:prstGeom prst="roundRect">
            <a:avLst>
              <a:gd name="adj" fmla="val 5628"/>
            </a:avLst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747821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5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성공 및 변화 </a:t>
            </a:r>
            <a:r>
              <a:rPr lang="ko-KR" altLang="en-US" sz="2400" b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관리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모델 개선작업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34665" y="701962"/>
            <a:ext cx="9225472" cy="39227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모듈 이미지의 </a:t>
            </a:r>
            <a:r>
              <a:rPr lang="en-US" altLang="ko-KR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Data Lake 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구축</a:t>
            </a:r>
            <a:endParaRPr lang="ko-KR" altLang="en-US" sz="20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948" y="1120790"/>
            <a:ext cx="8883548" cy="686608"/>
          </a:xfrm>
          <a:prstGeom prst="rect">
            <a:avLst/>
          </a:prstGeom>
          <a:noFill/>
          <a:ln>
            <a:noFill/>
          </a:ln>
        </p:spPr>
        <p:txBody>
          <a:bodyPr wrap="squar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 모델로의 검증 확대전개를 위해서는 </a:t>
            </a:r>
            <a:r>
              <a:rPr lang="ko-KR" altLang="en-US" sz="180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별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이미지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Data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수집이 필요하며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ta Lake</a:t>
            </a:r>
            <a:r>
              <a:rPr lang="ko-KR" altLang="en-US" sz="18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 구축 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되어야 진정한 의미의 확대전개 가능 </a:t>
            </a:r>
            <a:endParaRPr lang="en-US" altLang="ko-KR" sz="18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48626" y="5683493"/>
            <a:ext cx="7280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b="1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</a:t>
            </a:r>
            <a:endParaRPr lang="ko-KR" altLang="en-US" b="1" dirty="0">
              <a:solidFill>
                <a:srgbClr val="008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" name="사각형: 둥근 모서리 6">
            <a:extLst>
              <a:ext uri="{FF2B5EF4-FFF2-40B4-BE49-F238E27FC236}">
                <a16:creationId xmlns:a16="http://schemas.microsoft.com/office/drawing/2014/main" xmlns="" id="{F3497261-9040-E521-3F1E-25DAD94543E3}"/>
              </a:ext>
            </a:extLst>
          </p:cNvPr>
          <p:cNvSpPr/>
          <p:nvPr/>
        </p:nvSpPr>
        <p:spPr>
          <a:xfrm>
            <a:off x="702668" y="4301768"/>
            <a:ext cx="1620000" cy="1260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lIns="10800" tIns="10800" rIns="10800" bIns="10800" anchor="ctr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2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vent</a:t>
            </a:r>
            <a:r>
              <a:rPr lang="ko-KR" altLang="en-US" sz="2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별 모듈</a:t>
            </a:r>
            <a:endParaRPr lang="en-US" altLang="ko-KR" sz="20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>
              <a:lnSpc>
                <a:spcPct val="120000"/>
              </a:lnSpc>
            </a:pPr>
            <a:r>
              <a:rPr lang="ko-KR" altLang="en-US" sz="2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진 촬영</a:t>
            </a:r>
            <a:endParaRPr lang="en-US" altLang="ko-KR" sz="2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아래쪽 화살표 11"/>
          <p:cNvSpPr/>
          <p:nvPr/>
        </p:nvSpPr>
        <p:spPr>
          <a:xfrm rot="16200000" flipH="1">
            <a:off x="2910880" y="4478068"/>
            <a:ext cx="483679" cy="907400"/>
          </a:xfrm>
          <a:prstGeom prst="downArrow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" name="사각형: 둥근 모서리 6">
            <a:extLst>
              <a:ext uri="{FF2B5EF4-FFF2-40B4-BE49-F238E27FC236}">
                <a16:creationId xmlns:a16="http://schemas.microsoft.com/office/drawing/2014/main" xmlns="" id="{F3497261-9040-E521-3F1E-25DAD94543E3}"/>
              </a:ext>
            </a:extLst>
          </p:cNvPr>
          <p:cNvSpPr/>
          <p:nvPr/>
        </p:nvSpPr>
        <p:spPr>
          <a:xfrm>
            <a:off x="3982772" y="4301768"/>
            <a:ext cx="1620000" cy="1260000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</p:spPr>
        <p:txBody>
          <a:bodyPr wrap="none" lIns="10800" tIns="10800" rIns="10800" bIns="10800" anchor="ctr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2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ta Lake</a:t>
            </a:r>
          </a:p>
          <a:p>
            <a:pPr algn="ctr">
              <a:lnSpc>
                <a:spcPct val="120000"/>
              </a:lnSpc>
            </a:pPr>
            <a:r>
              <a:rPr lang="ko-KR" altLang="en-US" sz="2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저장 </a:t>
            </a:r>
            <a:r>
              <a:rPr lang="en-US" altLang="ko-KR" sz="2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2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관리</a:t>
            </a:r>
            <a:endParaRPr lang="en-US" altLang="ko-KR" sz="2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6" name="아래쪽 화살표 15"/>
          <p:cNvSpPr/>
          <p:nvPr/>
        </p:nvSpPr>
        <p:spPr>
          <a:xfrm rot="16200000" flipH="1">
            <a:off x="6190984" y="4478068"/>
            <a:ext cx="483679" cy="907400"/>
          </a:xfrm>
          <a:prstGeom prst="downArrow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7" name="사각형: 둥근 모서리 6">
            <a:extLst>
              <a:ext uri="{FF2B5EF4-FFF2-40B4-BE49-F238E27FC236}">
                <a16:creationId xmlns:a16="http://schemas.microsoft.com/office/drawing/2014/main" xmlns="" id="{F3497261-9040-E521-3F1E-25DAD94543E3}"/>
              </a:ext>
            </a:extLst>
          </p:cNvPr>
          <p:cNvSpPr/>
          <p:nvPr/>
        </p:nvSpPr>
        <p:spPr>
          <a:xfrm>
            <a:off x="7262877" y="4301768"/>
            <a:ext cx="1620000" cy="1260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lIns="10800" tIns="10800" rIns="10800" bIns="10800" anchor="ctr">
            <a:no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sz="2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양산모델</a:t>
            </a:r>
            <a:endParaRPr lang="en-US" altLang="ko-KR" sz="20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>
              <a:lnSpc>
                <a:spcPct val="120000"/>
              </a:lnSpc>
            </a:pP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양 </a:t>
            </a:r>
            <a:r>
              <a:rPr lang="en-US" altLang="ko-KR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 판정</a:t>
            </a:r>
            <a:endParaRPr lang="en-US" altLang="ko-KR" sz="2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708835" y="5683493"/>
            <a:ext cx="7280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b="1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</a:t>
            </a:r>
            <a:endParaRPr lang="ko-KR" altLang="en-US" b="1" dirty="0">
              <a:solidFill>
                <a:srgbClr val="008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144700" y="5683493"/>
            <a:ext cx="1346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b="1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 </a:t>
            </a:r>
            <a:r>
              <a:rPr lang="en-US" altLang="ko-KR" b="1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LGE</a:t>
            </a:r>
            <a:endParaRPr lang="ko-KR" altLang="en-US" b="1" dirty="0">
              <a:solidFill>
                <a:srgbClr val="008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1" name="사각형: 둥근 모서리 6">
            <a:extLst>
              <a:ext uri="{FF2B5EF4-FFF2-40B4-BE49-F238E27FC236}">
                <a16:creationId xmlns:a16="http://schemas.microsoft.com/office/drawing/2014/main" xmlns="" id="{F3497261-9040-E521-3F1E-25DAD94543E3}"/>
              </a:ext>
            </a:extLst>
          </p:cNvPr>
          <p:cNvSpPr/>
          <p:nvPr/>
        </p:nvSpPr>
        <p:spPr>
          <a:xfrm>
            <a:off x="1408396" y="2284304"/>
            <a:ext cx="6768752" cy="96403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lIns="10800" tIns="10800" rIns="10800" bIns="10800" anchor="ctr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2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GE </a:t>
            </a:r>
            <a:r>
              <a:rPr lang="ko-KR" altLang="en-US" sz="2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연구소</a:t>
            </a:r>
            <a:endParaRPr lang="en-US" altLang="ko-KR" sz="20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>
              <a:lnSpc>
                <a:spcPct val="120000"/>
              </a:lnSpc>
            </a:pPr>
            <a:r>
              <a:rPr lang="en-US" altLang="ko-KR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Task</a:t>
            </a:r>
            <a:endParaRPr lang="en-US" altLang="ko-KR" sz="2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2" name="아래쪽 화살표 21"/>
          <p:cNvSpPr/>
          <p:nvPr/>
        </p:nvSpPr>
        <p:spPr>
          <a:xfrm rot="7607012" flipH="1">
            <a:off x="7249056" y="3218345"/>
            <a:ext cx="483679" cy="907400"/>
          </a:xfrm>
          <a:prstGeom prst="downArrow">
            <a:avLst/>
          </a:prstGeom>
          <a:solidFill>
            <a:schemeClr val="bg1"/>
          </a:solidFill>
          <a:ln>
            <a:solidFill>
              <a:srgbClr val="0000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033132" y="3487379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eedback </a:t>
            </a:r>
            <a:r>
              <a:rPr lang="ko-KR" altLang="en-US" b="1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공</a:t>
            </a:r>
            <a:endParaRPr lang="ko-KR" altLang="en-US" b="1" dirty="0">
              <a:solidFill>
                <a:srgbClr val="008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5" name="아래쪽 화살표 24"/>
          <p:cNvSpPr/>
          <p:nvPr/>
        </p:nvSpPr>
        <p:spPr>
          <a:xfrm flipH="1">
            <a:off x="4550933" y="3316521"/>
            <a:ext cx="483679" cy="907400"/>
          </a:xfrm>
          <a:prstGeom prst="downArrow">
            <a:avLst/>
          </a:prstGeom>
          <a:solidFill>
            <a:schemeClr val="bg1"/>
          </a:solidFill>
          <a:ln>
            <a:solidFill>
              <a:srgbClr val="0000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008796" y="3532545"/>
            <a:ext cx="15247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 모델 개선</a:t>
            </a:r>
            <a:endParaRPr lang="ko-KR" altLang="en-US" b="1" dirty="0">
              <a:solidFill>
                <a:srgbClr val="008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33374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직사각형 130"/>
          <p:cNvSpPr/>
          <p:nvPr/>
        </p:nvSpPr>
        <p:spPr>
          <a:xfrm>
            <a:off x="152400" y="5379826"/>
            <a:ext cx="9656395" cy="1356876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indent="93663" fontAlgn="auto" latinLnBrk="0">
              <a:spcBef>
                <a:spcPts val="0"/>
              </a:spcBef>
              <a:spcAft>
                <a:spcPts val="0"/>
              </a:spcAft>
            </a:pPr>
            <a:endParaRPr lang="en-US" altLang="ko-KR" sz="1200" b="1" kern="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indent="93663" fontAlgn="auto" latinLnBrk="0">
              <a:spcBef>
                <a:spcPts val="0"/>
              </a:spcBef>
              <a:spcAft>
                <a:spcPts val="0"/>
              </a:spcAft>
            </a:pPr>
            <a:endParaRPr lang="en-US" altLang="ko-KR" sz="1200" b="1" kern="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indent="93663" fontAlgn="auto" latinLnBrk="0">
              <a:spcBef>
                <a:spcPts val="0"/>
              </a:spcBef>
              <a:spcAft>
                <a:spcPts val="0"/>
              </a:spcAft>
            </a:pPr>
            <a:endParaRPr lang="en-US" altLang="ko-KR" sz="1200" b="1" kern="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indent="93663" fontAlgn="auto" latinLnBrk="0">
              <a:spcBef>
                <a:spcPts val="0"/>
              </a:spcBef>
              <a:spcAft>
                <a:spcPts val="0"/>
              </a:spcAft>
            </a:pPr>
            <a:endParaRPr lang="en-US" altLang="ko-KR" sz="1200" b="1" kern="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indent="93663" fontAlgn="auto"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kern="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평가자 기록 </a:t>
            </a:r>
            <a:r>
              <a:rPr lang="en-US" altLang="ko-KR" sz="1200" b="1" kern="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. </a:t>
            </a:r>
            <a:endParaRPr lang="ko-KR" altLang="en-US" sz="1200" b="1" kern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" name="직사각형 111"/>
          <p:cNvSpPr/>
          <p:nvPr/>
        </p:nvSpPr>
        <p:spPr>
          <a:xfrm>
            <a:off x="8992756" y="175161"/>
            <a:ext cx="734440" cy="266700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작성예시</a:t>
            </a:r>
            <a:endParaRPr lang="ko-KR" altLang="en-US" sz="1000" b="1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aphicFrame>
        <p:nvGraphicFramePr>
          <p:cNvPr id="118" name="표 1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0421965"/>
              </p:ext>
            </p:extLst>
          </p:nvPr>
        </p:nvGraphicFramePr>
        <p:xfrm>
          <a:off x="164124" y="154644"/>
          <a:ext cx="7142313" cy="49440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8856"/>
                <a:gridCol w="2909440"/>
                <a:gridCol w="1280160"/>
                <a:gridCol w="1903857"/>
              </a:tblGrid>
              <a:tr h="376026"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과제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요약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과제 명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latinLnBrk="0"/>
                      <a:r>
                        <a:rPr lang="en-US" altLang="ko-KR" sz="1000" b="1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I(</a:t>
                      </a:r>
                      <a:r>
                        <a:rPr lang="ko-KR" altLang="en-US" sz="1000" b="1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미지분석</a:t>
                      </a:r>
                      <a:r>
                        <a:rPr lang="en-US" altLang="ko-KR" sz="1000" b="1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lang="ko-KR" altLang="en-US" sz="1000" b="1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을 이용한 모듈 배면 부자재 점검</a:t>
                      </a:r>
                      <a:endParaRPr lang="ko-KR" altLang="en-US" sz="1000" b="1" kern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과제 유형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1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X for</a:t>
                      </a:r>
                      <a:r>
                        <a:rPr lang="en-US" altLang="ko-KR" sz="1000" b="1" kern="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Company</a:t>
                      </a:r>
                      <a:endParaRPr lang="ko-KR" altLang="en-US" sz="1000" b="1" kern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과제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행자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속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5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원종권</a:t>
                      </a:r>
                      <a:r>
                        <a:rPr lang="en-US" altLang="ko-KR" sz="105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50" kern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선임연구원</a:t>
                      </a:r>
                      <a:endParaRPr lang="ko-KR" altLang="en-US" sz="1050" kern="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0"/>
                      <a:r>
                        <a:rPr lang="en-US" altLang="ko-KR" sz="9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UHD1 Project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795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과제 개요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 모듈 조립 후 진행하는 모듈 배면 부자재 부착 검사를 이미지 분석 모델을 이용한 자동화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yste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으로 개선하여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의 품질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생산성 향상 및 업무효율화에 기여함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R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75681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과제 성과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en-US" altLang="ko-KR" sz="1000" dirty="0" smtClean="0">
                        <a:solidFill>
                          <a:prstClr val="black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defTabSz="844083" latinLnBrk="0"/>
                      <a:r>
                        <a:rPr lang="en-US" altLang="ko-KR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- </a:t>
                      </a:r>
                      <a:r>
                        <a:rPr lang="ko-KR" altLang="en-US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부자재 부착 불량 판정의 정확도 및 검출 시간 향상</a:t>
                      </a:r>
                      <a:endParaRPr lang="en-US" altLang="ko-KR" sz="1000" b="0" kern="0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defTabSz="844083" latinLnBrk="0"/>
                      <a:r>
                        <a:rPr lang="en-US" altLang="ko-KR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- </a:t>
                      </a:r>
                      <a:r>
                        <a:rPr lang="ko-KR" altLang="en-US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불량률 감소로 인한 고객 만족도 증대</a:t>
                      </a:r>
                      <a:endParaRPr lang="en-US" altLang="ko-KR" sz="1000" b="0" kern="0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defTabSz="844083" latinLnBrk="0"/>
                      <a:r>
                        <a:rPr lang="en-US" altLang="ko-KR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-</a:t>
                      </a:r>
                      <a:r>
                        <a:rPr lang="en-US" altLang="ko-KR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DX</a:t>
                      </a:r>
                      <a:r>
                        <a:rPr lang="ko-KR" altLang="en-US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반 일하는 문화를 </a:t>
                      </a:r>
                      <a:r>
                        <a:rPr lang="en-US" altLang="ko-KR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M</a:t>
                      </a:r>
                      <a:r>
                        <a:rPr lang="ko-KR" altLang="en-US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사로까지 확대</a:t>
                      </a:r>
                      <a:endParaRPr lang="en-US" altLang="ko-KR" sz="1000" b="0" kern="0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defTabSz="844083" latinLnBrk="0"/>
                      <a:endParaRPr lang="en-US" altLang="ko-KR" sz="1000" b="0" kern="0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indent="0" defTabSz="844083" latinLnBrk="0">
                        <a:buFontTx/>
                        <a:buNone/>
                      </a:pPr>
                      <a:r>
                        <a:rPr lang="en-US" altLang="ko-KR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1000" b="0" kern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존에 부자재 부착 불량을 검증했던 작업인원 감소</a:t>
                      </a:r>
                      <a:endParaRPr lang="en-US" altLang="ko-KR" sz="1000" b="0" kern="0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indent="0" defTabSz="844083" latinLnBrk="0">
                        <a:buFontTx/>
                        <a:buNone/>
                      </a:pPr>
                      <a:r>
                        <a:rPr lang="en-US" altLang="ko-KR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kern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→ 상세 감소 인원 검토 </a:t>
                      </a:r>
                      <a:r>
                        <a:rPr lang="en-US" altLang="ko-KR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M</a:t>
                      </a:r>
                      <a:r>
                        <a:rPr lang="ko-KR" altLang="en-US" sz="1000" b="0" kern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사 검토 진행 중</a:t>
                      </a:r>
                      <a:endParaRPr lang="en-US" altLang="ko-KR" sz="1000" b="0" kern="0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indent="0" defTabSz="844083" latinLnBrk="0">
                        <a:buFontTx/>
                        <a:buNone/>
                      </a:pPr>
                      <a:r>
                        <a:rPr lang="en-US" altLang="ko-KR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각 </a:t>
                      </a:r>
                      <a:r>
                        <a:rPr lang="ko-KR" altLang="en-US" sz="1000" b="0" kern="0" baseline="0" dirty="0" err="1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모델별</a:t>
                      </a:r>
                      <a:r>
                        <a:rPr lang="ko-KR" altLang="en-US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판정 결과의 </a:t>
                      </a:r>
                      <a:r>
                        <a:rPr lang="en-US" altLang="ko-KR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ata Base </a:t>
                      </a:r>
                      <a:r>
                        <a:rPr lang="ko-KR" altLang="en-US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축</a:t>
                      </a:r>
                      <a:endParaRPr lang="en-US" altLang="ko-KR" sz="1000" b="0" kern="0" baseline="0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indent="0" defTabSz="844083" latinLnBrk="0">
                        <a:buFontTx/>
                        <a:buNone/>
                      </a:pPr>
                      <a:r>
                        <a:rPr lang="en-US" altLang="ko-KR" sz="1000" b="0" kern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</a:t>
                      </a:r>
                      <a:r>
                        <a:rPr lang="en-US" altLang="ko-KR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kern="0" baseline="0" dirty="0" smtClean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모듈 기인 불량률 감소</a:t>
                      </a:r>
                      <a:endParaRPr lang="ko-KR" altLang="en-US" sz="1000" b="0" kern="0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248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est Practice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1.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모듈 불량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수집 시스템 구축</a:t>
                      </a: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① 각 </a:t>
                      </a:r>
                      <a:r>
                        <a:rPr kumimoji="1" lang="ko-KR" altLang="en-US" sz="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모델별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출하검사 양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/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불 판정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수집</a:t>
                      </a: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②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YOLOv5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를 통해 불량에 대한 머신 러닝 학습모델 제시</a:t>
                      </a: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③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Test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과정을 통해 예측 모델 정확도 확인</a:t>
                      </a: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2.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모듈 검사 과정의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X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적용을 위한 방안 제시</a:t>
                      </a: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①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BM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사 </a:t>
                      </a:r>
                      <a:r>
                        <a:rPr kumimoji="1" lang="ko-KR" altLang="en-US" sz="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검사시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양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/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불 판정에 대한 이미지 공유 요청</a:t>
                      </a: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②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ystem UI 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 후 법인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/ BM</a:t>
                      </a: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사로의 배포를 통한 확산전개</a:t>
                      </a: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3. </a:t>
                      </a:r>
                      <a:r>
                        <a:rPr kumimoji="1" lang="ko-KR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수집된 이미지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 </a:t>
                      </a:r>
                      <a:r>
                        <a:rPr kumimoji="1" lang="ko-KR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기반 모듈 불량 검출 </a:t>
                      </a: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ystem </a:t>
                      </a:r>
                      <a:r>
                        <a:rPr kumimoji="1" lang="ko-KR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</a:t>
                      </a:r>
                      <a:endParaRPr kumimoji="1" lang="en-US" altLang="ko-KR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① 이미지 분석을 통해 불량의 자동 판별</a:t>
                      </a:r>
                      <a:endParaRPr kumimoji="1" lang="en-US" altLang="ko-KR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60325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</a:t>
                      </a:r>
                      <a:r>
                        <a:rPr kumimoji="1" lang="ko-KR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② 검출 속도 및 성능 등 판정 성능의 개선 작업</a:t>
                      </a:r>
                      <a:endParaRPr kumimoji="1" lang="en-US" altLang="ko-KR" sz="7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36000" marR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19" name="표 1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9878382"/>
              </p:ext>
            </p:extLst>
          </p:nvPr>
        </p:nvGraphicFramePr>
        <p:xfrm>
          <a:off x="7424077" y="154644"/>
          <a:ext cx="2384718" cy="51312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4718"/>
              </a:tblGrid>
              <a:tr h="3809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X </a:t>
                      </a:r>
                      <a:r>
                        <a:rPr kumimoji="1" lang="ko-KR" altLang="en-US" sz="1100" b="1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관련 주요 학습 이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091325"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. Domain DX </a:t>
                      </a:r>
                      <a:r>
                        <a:rPr lang="ko-KR" altLang="en-US" sz="1000" kern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역량인증 </a:t>
                      </a: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Level1 – Pass</a:t>
                      </a:r>
                    </a:p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[HE DX Booster </a:t>
                      </a:r>
                      <a:r>
                        <a:rPr lang="ko-KR" altLang="en-US" sz="1000" kern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교육</a:t>
                      </a: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]</a:t>
                      </a:r>
                    </a:p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. </a:t>
                      </a:r>
                      <a:r>
                        <a:rPr lang="ko-KR" altLang="en-US" sz="1000" kern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파이썬 프로그래밍</a:t>
                      </a: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32Hr)</a:t>
                      </a:r>
                    </a:p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. </a:t>
                      </a:r>
                      <a:r>
                        <a:rPr lang="ko-KR" altLang="en-US" sz="1000" kern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데이터 사이언스</a:t>
                      </a: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kern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통계분석</a:t>
                      </a: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(24Hr)</a:t>
                      </a:r>
                    </a:p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. </a:t>
                      </a:r>
                      <a:r>
                        <a:rPr lang="ko-KR" altLang="en-US" sz="1000" kern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디지털 역량강화</a:t>
                      </a: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kern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머신러닝</a:t>
                      </a:r>
                      <a:r>
                        <a:rPr lang="en-US" altLang="ko-KR" sz="1000" kern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(72Hr)</a:t>
                      </a:r>
                    </a:p>
                  </a:txBody>
                  <a:tcPr marL="36000" marR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809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X </a:t>
                      </a:r>
                      <a:r>
                        <a:rPr kumimoji="1" lang="ko-KR" altLang="en-US" sz="1100" b="1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관련 업무 및 과제 실행 이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278051"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0" kern="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022</a:t>
                      </a:r>
                      <a:r>
                        <a:rPr lang="ko-KR" altLang="en-US" sz="1000" b="0" kern="0" baseline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년</a:t>
                      </a:r>
                      <a:endParaRPr lang="en-US" altLang="ko-KR" sz="1000" b="0" kern="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0" kern="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DX Lv1 </a:t>
                      </a:r>
                      <a:r>
                        <a:rPr lang="ko-KR" altLang="en-US" sz="1000" b="0" kern="0" baseline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취득</a:t>
                      </a:r>
                      <a:r>
                        <a:rPr lang="en-US" altLang="ko-KR" sz="1000" b="0" kern="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22.08)</a:t>
                      </a:r>
                    </a:p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altLang="ko-KR" sz="1000" b="0" kern="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0" kern="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023</a:t>
                      </a:r>
                      <a:r>
                        <a:rPr lang="ko-KR" altLang="en-US" sz="1000" b="0" kern="0" baseline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년</a:t>
                      </a:r>
                      <a:endParaRPr lang="en-US" altLang="ko-KR" sz="1000" b="0" kern="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0" kern="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- </a:t>
                      </a:r>
                      <a:r>
                        <a:rPr lang="en-US" altLang="ko-KR" sz="1000" b="0" kern="0" baseline="0" dirty="0" err="1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DsP</a:t>
                      </a:r>
                      <a:r>
                        <a:rPr lang="en-US" altLang="ko-KR" sz="1000" b="0" kern="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kern="0" baseline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취득</a:t>
                      </a:r>
                      <a:r>
                        <a:rPr lang="en-US" altLang="ko-KR" sz="1000" b="0" kern="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23.06.16)</a:t>
                      </a:r>
                    </a:p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000" b="0" kern="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- DX LV2 </a:t>
                      </a:r>
                      <a:r>
                        <a:rPr lang="ko-KR" altLang="en-US" sz="1000" b="0" kern="0" baseline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취득</a:t>
                      </a:r>
                      <a:r>
                        <a:rPr lang="en-US" altLang="ko-KR" sz="1000" b="0" kern="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23.06.6)</a:t>
                      </a:r>
                    </a:p>
                  </a:txBody>
                  <a:tcPr marL="36000" marR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20" name="표 1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8637852"/>
              </p:ext>
            </p:extLst>
          </p:nvPr>
        </p:nvGraphicFramePr>
        <p:xfrm>
          <a:off x="164125" y="5398488"/>
          <a:ext cx="7452508" cy="5443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4644"/>
                <a:gridCol w="1064644"/>
                <a:gridCol w="1064644"/>
                <a:gridCol w="1064644"/>
                <a:gridCol w="1064644"/>
                <a:gridCol w="1064644"/>
                <a:gridCol w="1064644"/>
              </a:tblGrid>
              <a:tr h="3143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과제 </a:t>
                      </a:r>
                      <a:r>
                        <a:rPr kumimoji="1" lang="en-US" altLang="ko-KR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impact</a:t>
                      </a:r>
                      <a:endParaRPr kumimoji="1" lang="ko-KR" altLang="en-US" sz="1000" b="1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성공의</a:t>
                      </a:r>
                      <a:r>
                        <a:rPr kumimoji="1" lang="en-US" altLang="ko-KR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kumimoji="1" lang="ko-KR" altLang="en-US" sz="1000" b="1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정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문제해결 절차 충실도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변화관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성과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태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총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230023"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1" name="직사각형 120"/>
          <p:cNvSpPr/>
          <p:nvPr/>
        </p:nvSpPr>
        <p:spPr>
          <a:xfrm>
            <a:off x="1234126" y="1778530"/>
            <a:ext cx="787724" cy="16227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ko-KR" altLang="en-US" sz="900" b="1" kern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성적</a:t>
            </a:r>
            <a:r>
              <a:rPr lang="en-US" altLang="ko-KR" sz="900" b="1" kern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b="1" kern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성과</a:t>
            </a:r>
          </a:p>
        </p:txBody>
      </p:sp>
      <p:sp>
        <p:nvSpPr>
          <p:cNvPr id="122" name="직사각형 121"/>
          <p:cNvSpPr/>
          <p:nvPr/>
        </p:nvSpPr>
        <p:spPr>
          <a:xfrm>
            <a:off x="4154083" y="1778523"/>
            <a:ext cx="787724" cy="16227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ko-KR" altLang="en-US" sz="900" b="1" kern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량적</a:t>
            </a:r>
            <a:r>
              <a:rPr lang="en-US" altLang="ko-KR" sz="900" b="1" kern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b="1" kern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성과</a:t>
            </a:r>
          </a:p>
        </p:txBody>
      </p:sp>
    </p:spTree>
    <p:extLst>
      <p:ext uri="{BB962C8B-B14F-4D97-AF65-F5344CB8AC3E}">
        <p14:creationId xmlns:p14="http://schemas.microsoft.com/office/powerpoint/2010/main" val="740153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800720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5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성공 및 변화 </a:t>
            </a:r>
            <a:r>
              <a:rPr lang="ko-KR" altLang="en-US" sz="2400" b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관리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모델 개선작업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36471" y="701863"/>
            <a:ext cx="9225472" cy="39227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판정 이미지의 표준화 진행</a:t>
            </a:r>
            <a:endParaRPr lang="ko-KR" altLang="en-US" sz="20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6652" y="1154898"/>
            <a:ext cx="9351288" cy="908207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후 양산 </a:t>
            </a:r>
            <a:r>
              <a:rPr lang="ko-KR" altLang="en-US" sz="160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적용시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대량의 이미지 판별 과정에서 촬영 환경에 의한 이미지 편차가 정확도에 영향을 미칠 가능성 존재</a:t>
            </a:r>
            <a:endParaRPr lang="en-US" altLang="ko-KR" sz="16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팀 내 배포된 이미지 편집 툴을 활용하여 판정 이미지의 표준화 작업 진행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UHD1 Project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김정원 책임 제작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이미지 편집 툴을 활용했을 때 표준 이미지로 자동 변환됨을 확인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4264" y="2246586"/>
            <a:ext cx="4511673" cy="3573380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0640" y="2270235"/>
            <a:ext cx="3692070" cy="3698616"/>
          </a:xfrm>
          <a:prstGeom prst="rect">
            <a:avLst/>
          </a:prstGeom>
        </p:spPr>
      </p:pic>
      <p:sp>
        <p:nvSpPr>
          <p:cNvPr id="11" name="직사각형 13">
            <a:extLst>
              <a:ext uri="{FF2B5EF4-FFF2-40B4-BE49-F238E27FC236}">
                <a16:creationId xmlns:a16="http://schemas.microsoft.com/office/drawing/2014/main" xmlns="" id="{64C4EB8C-3572-DA60-F875-F1829A106F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0334" y="6093296"/>
            <a:ext cx="3130034" cy="237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800" tIns="10800" rIns="10800" bIns="10800">
            <a:spAutoFit/>
          </a:bodyPr>
          <a:lstStyle>
            <a:lvl1pPr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eaLnBrk="0" latinLnBrk="0" hangingPunct="0"/>
            <a:r>
              <a:rPr lang="en-US" altLang="ko-KR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Teams</a:t>
            </a:r>
            <a:r>
              <a:rPr lang="ko-KR" altLang="en-US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를 이용한 이미지 </a:t>
            </a:r>
            <a:r>
              <a:rPr lang="ko-KR" altLang="en-US" sz="1400" b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편집 툴 팀 내 </a:t>
            </a:r>
            <a:r>
              <a:rPr lang="ko-KR" altLang="en-US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공유</a:t>
            </a:r>
            <a:endParaRPr lang="ko-KR" altLang="en-US" sz="1400" b="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12" name="직사각형 13">
            <a:extLst>
              <a:ext uri="{FF2B5EF4-FFF2-40B4-BE49-F238E27FC236}">
                <a16:creationId xmlns:a16="http://schemas.microsoft.com/office/drawing/2014/main" xmlns="" id="{64C4EB8C-3572-DA60-F875-F1829A106F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5008" y="6093296"/>
            <a:ext cx="3575669" cy="237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800" tIns="10800" rIns="10800" bIns="10800">
            <a:spAutoFit/>
          </a:bodyPr>
          <a:lstStyle>
            <a:lvl1pPr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eaLnBrk="0" latinLnBrk="0" hangingPunct="0"/>
            <a:r>
              <a:rPr lang="ko-KR" altLang="en-US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편집 툴을 활용하여 이미지가 자동 변환 됨을 확인</a:t>
            </a:r>
            <a:endParaRPr lang="ko-KR" altLang="en-US" sz="1400" b="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25730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747821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5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성공 및 변화 관리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실행성과 평가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32795" y="709754"/>
            <a:ext cx="9635971" cy="13747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500"/>
              </a:lnSpc>
            </a:pPr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① 이미지 분석을 통한 자동화 불량 검출 시스템을 구축함으로써 사람이 육안으로 불량을 판별함에 따른</a:t>
            </a:r>
            <a:endParaRPr lang="en-US" altLang="ko-KR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ts val="2500"/>
              </a:lnSpc>
            </a:pPr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</a:t>
            </a:r>
            <a:r>
              <a:rPr lang="en-US" altLang="ko-KR" u="sng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uman Error</a:t>
            </a:r>
            <a:r>
              <a:rPr lang="ko-KR" altLang="en-US" u="sng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방지</a:t>
            </a:r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하며</a:t>
            </a:r>
            <a:r>
              <a:rPr lang="en-US" altLang="ko-KR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를 통해 </a:t>
            </a:r>
            <a:r>
              <a:rPr lang="ko-KR" altLang="en-US" u="sng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량 판정 인원을 감축</a:t>
            </a:r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능성 확인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  <a:p>
            <a:pPr>
              <a:lnSpc>
                <a:spcPts val="2500"/>
              </a:lnSpc>
            </a:pP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② </a:t>
            </a:r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주요 협력사인 </a:t>
            </a:r>
            <a:r>
              <a:rPr lang="en-US" altLang="ko-KR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의 </a:t>
            </a:r>
            <a:r>
              <a:rPr lang="en-US" altLang="ko-KR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</a:t>
            </a:r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활동 및 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문화 전파 작업 추진함으로써 </a:t>
            </a:r>
            <a:r>
              <a:rPr lang="en-US" altLang="ko-KR" u="sng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u="sng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의 품질</a:t>
            </a:r>
            <a:r>
              <a:rPr lang="en-US" altLang="ko-KR" u="sng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u="sng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성 향상 및 </a:t>
            </a:r>
            <a:endParaRPr lang="en-US" altLang="ko-KR" u="sng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ts val="2500"/>
              </a:lnSpc>
            </a:pP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</a:t>
            </a:r>
            <a:r>
              <a:rPr lang="ko-KR" altLang="en-US" u="sng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업무효율화에 기여</a:t>
            </a:r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예상</a:t>
            </a:r>
            <a:r>
              <a:rPr lang="en-US" altLang="ko-KR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8" name="Text Box 57">
            <a:extLst>
              <a:ext uri="{FF2B5EF4-FFF2-40B4-BE49-F238E27FC236}">
                <a16:creationId xmlns:a16="http://schemas.microsoft.com/office/drawing/2014/main" xmlns="" id="{3CF391B6-6E5D-4AE7-A5AE-5E4932A350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9228" y="2299898"/>
            <a:ext cx="2115367" cy="339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600" b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목표</a:t>
            </a:r>
          </a:p>
        </p:txBody>
      </p:sp>
      <p:sp>
        <p:nvSpPr>
          <p:cNvPr id="59" name="Text Box 57">
            <a:extLst>
              <a:ext uri="{FF2B5EF4-FFF2-40B4-BE49-F238E27FC236}">
                <a16:creationId xmlns:a16="http://schemas.microsoft.com/office/drawing/2014/main" xmlns="" id="{FC0E6AEE-07D1-9816-E71A-22165CAA3F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897" y="2848367"/>
            <a:ext cx="275393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ko-KR" altLang="en-US" sz="16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6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KPI : </a:t>
            </a:r>
            <a:r>
              <a:rPr lang="ko-KR" altLang="en-US" sz="1600" b="1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을 위한 작업자 감축</a:t>
            </a:r>
            <a:endParaRPr lang="ko-KR" altLang="en-US" sz="16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0" name="Text Box 57">
            <a:extLst>
              <a:ext uri="{FF2B5EF4-FFF2-40B4-BE49-F238E27FC236}">
                <a16:creationId xmlns:a16="http://schemas.microsoft.com/office/drawing/2014/main" xmlns="" id="{88C15D8C-D72C-6C31-D756-1CB9FA5820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897" y="3663093"/>
            <a:ext cx="2639219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altLang="ko-KR" sz="16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ub-KPI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None/>
            </a:pPr>
            <a:r>
              <a:rPr lang="en-US" altLang="ko-KR" sz="1600" b="1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</a:t>
            </a:r>
            <a:r>
              <a:rPr lang="ko-KR" altLang="en-US" sz="1600" b="1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량 판정 정확도</a:t>
            </a:r>
            <a:endParaRPr lang="en-US" altLang="ko-KR" sz="16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None/>
            </a:pPr>
            <a:endParaRPr lang="en-US" altLang="ko-KR" sz="16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None/>
            </a:pPr>
            <a:endParaRPr lang="en-US" altLang="ko-KR" sz="16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None/>
            </a:pPr>
            <a:r>
              <a:rPr lang="en-US" altLang="ko-KR" sz="1600" b="1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600" b="1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600" b="1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량 판정 시간</a:t>
            </a:r>
            <a:endParaRPr lang="ko-KR" altLang="en-US" sz="16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1" name="직사각형 13">
            <a:extLst>
              <a:ext uri="{FF2B5EF4-FFF2-40B4-BE49-F238E27FC236}">
                <a16:creationId xmlns:a16="http://schemas.microsoft.com/office/drawing/2014/main" xmlns="" id="{36CAB827-DCE8-82A4-8290-3D56F8A62A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520" y="3200519"/>
            <a:ext cx="2649133" cy="237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800" tIns="10800" rIns="10800" bIns="10800">
            <a:spAutoFit/>
          </a:bodyPr>
          <a:lstStyle>
            <a:lvl1pPr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eaLnBrk="0" latinLnBrk="0" hangingPunct="0"/>
            <a:r>
              <a:rPr lang="ko-KR" altLang="en-US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목표 </a:t>
            </a:r>
            <a:r>
              <a:rPr lang="en-US" altLang="ko-KR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: </a:t>
            </a:r>
            <a:r>
              <a:rPr lang="ko-KR" altLang="en-US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모듈 불량 판정 인원 완전 감축</a:t>
            </a:r>
            <a:endParaRPr lang="ko-KR" altLang="en-US" sz="1400" b="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xmlns="" id="{7F54399B-47F0-333F-6FB9-0B8EFA098D23}"/>
              </a:ext>
            </a:extLst>
          </p:cNvPr>
          <p:cNvCxnSpPr/>
          <p:nvPr/>
        </p:nvCxnSpPr>
        <p:spPr>
          <a:xfrm>
            <a:off x="630473" y="2639271"/>
            <a:ext cx="247287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Box 57">
            <a:extLst>
              <a:ext uri="{FF2B5EF4-FFF2-40B4-BE49-F238E27FC236}">
                <a16:creationId xmlns:a16="http://schemas.microsoft.com/office/drawing/2014/main" xmlns="" id="{149D254F-6B5A-D542-FEDC-5EDB7B2BE4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50239" y="2299898"/>
            <a:ext cx="2115367" cy="339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600" b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평가 결과</a:t>
            </a:r>
          </a:p>
        </p:txBody>
      </p:sp>
      <p:cxnSp>
        <p:nvCxnSpPr>
          <p:cNvPr id="68" name="직선 연결선 67">
            <a:extLst>
              <a:ext uri="{FF2B5EF4-FFF2-40B4-BE49-F238E27FC236}">
                <a16:creationId xmlns:a16="http://schemas.microsoft.com/office/drawing/2014/main" xmlns="" id="{3CF6D0C0-E1AE-52D7-4226-F3F1D0A25DFD}"/>
              </a:ext>
            </a:extLst>
          </p:cNvPr>
          <p:cNvCxnSpPr/>
          <p:nvPr/>
        </p:nvCxnSpPr>
        <p:spPr>
          <a:xfrm>
            <a:off x="3298831" y="2639271"/>
            <a:ext cx="2618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Box 57">
            <a:extLst>
              <a:ext uri="{FF2B5EF4-FFF2-40B4-BE49-F238E27FC236}">
                <a16:creationId xmlns:a16="http://schemas.microsoft.com/office/drawing/2014/main" xmlns="" id="{F55B1FC8-7248-FC55-E3D4-8B32C662F7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7215" y="2299898"/>
            <a:ext cx="2115367" cy="339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600" b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근거</a:t>
            </a:r>
          </a:p>
        </p:txBody>
      </p:sp>
      <p:cxnSp>
        <p:nvCxnSpPr>
          <p:cNvPr id="70" name="직선 연결선 69">
            <a:extLst>
              <a:ext uri="{FF2B5EF4-FFF2-40B4-BE49-F238E27FC236}">
                <a16:creationId xmlns:a16="http://schemas.microsoft.com/office/drawing/2014/main" xmlns="" id="{1A7D64E3-23ED-EE7C-20E8-7E715BA57E76}"/>
              </a:ext>
            </a:extLst>
          </p:cNvPr>
          <p:cNvCxnSpPr/>
          <p:nvPr/>
        </p:nvCxnSpPr>
        <p:spPr>
          <a:xfrm>
            <a:off x="6102498" y="2639271"/>
            <a:ext cx="3484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 Box 57">
            <a:extLst>
              <a:ext uri="{FF2B5EF4-FFF2-40B4-BE49-F238E27FC236}">
                <a16:creationId xmlns:a16="http://schemas.microsoft.com/office/drawing/2014/main" xmlns="" id="{56C370A2-2850-8A78-2370-C3E1B43B06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50218" y="2848367"/>
            <a:ext cx="264092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ko-KR" altLang="en-US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결과 </a:t>
            </a:r>
            <a:r>
              <a:rPr lang="en-US" altLang="ko-KR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 인원 감축 가능</a:t>
            </a:r>
            <a:endParaRPr lang="ko-KR" altLang="en-US" sz="16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3" name="Text Box 57">
            <a:extLst>
              <a:ext uri="{FF2B5EF4-FFF2-40B4-BE49-F238E27FC236}">
                <a16:creationId xmlns:a16="http://schemas.microsoft.com/office/drawing/2014/main" xmlns="" id="{29624071-9442-53AB-5E02-950EE49657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26298" y="2848367"/>
            <a:ext cx="3802891" cy="811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ko-KR" altLang="en-US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 </a:t>
            </a:r>
            <a:r>
              <a:rPr lang="ko-KR" altLang="en-US" sz="160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교류회를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통한 판정 모델 소개로 판정</a:t>
            </a:r>
            <a:endParaRPr lang="en-US" altLang="ko-KR" sz="16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모델의 검토 및 적용을 통해 인원 감축이</a:t>
            </a:r>
            <a:endParaRPr lang="en-US" altLang="ko-KR" sz="16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가능함을 확인</a:t>
            </a:r>
            <a:endParaRPr lang="ko-KR" altLang="en-US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8" name="직사각형 13">
            <a:extLst>
              <a:ext uri="{FF2B5EF4-FFF2-40B4-BE49-F238E27FC236}">
                <a16:creationId xmlns:a16="http://schemas.microsoft.com/office/drawing/2014/main" xmlns="" id="{36CAB827-DCE8-82A4-8290-3D56F8A62A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520" y="5192353"/>
            <a:ext cx="2339753" cy="237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800" tIns="10800" rIns="10800" bIns="10800">
            <a:spAutoFit/>
          </a:bodyPr>
          <a:lstStyle>
            <a:lvl1pPr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eaLnBrk="0" latinLnBrk="0" hangingPunct="0"/>
            <a:r>
              <a:rPr lang="ko-KR" altLang="en-US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목표 </a:t>
            </a:r>
            <a:r>
              <a:rPr lang="en-US" altLang="ko-KR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: </a:t>
            </a:r>
            <a:r>
              <a:rPr lang="ko-KR" altLang="en-US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모듈 </a:t>
            </a:r>
            <a:r>
              <a:rPr lang="en-US" altLang="ko-KR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1</a:t>
            </a:r>
            <a:r>
              <a:rPr lang="ko-KR" altLang="en-US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대당 </a:t>
            </a:r>
            <a:r>
              <a:rPr lang="en-US" altLang="ko-KR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1</a:t>
            </a:r>
            <a:r>
              <a:rPr lang="ko-KR" altLang="en-US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초 이내 판정</a:t>
            </a:r>
            <a:endParaRPr lang="ko-KR" altLang="en-US" sz="1400" b="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89" name="직사각형 13">
            <a:extLst>
              <a:ext uri="{FF2B5EF4-FFF2-40B4-BE49-F238E27FC236}">
                <a16:creationId xmlns:a16="http://schemas.microsoft.com/office/drawing/2014/main" xmlns="" id="{36CAB827-DCE8-82A4-8290-3D56F8A62A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520" y="4328257"/>
            <a:ext cx="2173041" cy="237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800" tIns="10800" rIns="10800" bIns="10800">
            <a:spAutoFit/>
          </a:bodyPr>
          <a:lstStyle>
            <a:lvl1pPr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eaLnBrk="0" latinLnBrk="0" hangingPunct="0"/>
            <a:r>
              <a:rPr lang="ko-KR" altLang="en-US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목표 </a:t>
            </a:r>
            <a:r>
              <a:rPr lang="en-US" altLang="ko-KR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:</a:t>
            </a:r>
            <a:r>
              <a:rPr lang="ko-KR" altLang="en-US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판정 정확도 </a:t>
            </a:r>
            <a:r>
              <a:rPr lang="en-US" altLang="ko-KR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100% </a:t>
            </a:r>
            <a:r>
              <a:rPr lang="ko-KR" altLang="en-US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달성</a:t>
            </a:r>
            <a:endParaRPr lang="ko-KR" altLang="en-US" sz="1400" b="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90" name="Text Box 57">
            <a:extLst>
              <a:ext uri="{FF2B5EF4-FFF2-40B4-BE49-F238E27FC236}">
                <a16:creationId xmlns:a16="http://schemas.microsoft.com/office/drawing/2014/main" xmlns="" id="{56C370A2-2850-8A78-2370-C3E1B43B06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98831" y="4051143"/>
            <a:ext cx="272746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 정확도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0%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달성</a:t>
            </a:r>
            <a:endParaRPr lang="ko-KR" altLang="en-US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1" name="Text Box 57">
            <a:extLst>
              <a:ext uri="{FF2B5EF4-FFF2-40B4-BE49-F238E27FC236}">
                <a16:creationId xmlns:a16="http://schemas.microsoft.com/office/drawing/2014/main" xmlns="" id="{56C370A2-2850-8A78-2370-C3E1B43B06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2527" y="4922120"/>
            <a:ext cx="261448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altLang="ko-KR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초기 설정 목표 달성</a:t>
            </a:r>
            <a:endParaRPr lang="ko-KR" altLang="en-US" sz="16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2" name="Text Box 57">
            <a:extLst>
              <a:ext uri="{FF2B5EF4-FFF2-40B4-BE49-F238E27FC236}">
                <a16:creationId xmlns:a16="http://schemas.microsoft.com/office/drawing/2014/main" xmlns="" id="{29624071-9442-53AB-5E02-950EE49657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3120" y="4832313"/>
            <a:ext cx="3815962" cy="811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ko-KR" altLang="en-US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이미지 편집</a:t>
            </a:r>
            <a:r>
              <a:rPr lang="en-US" altLang="ko-KR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Data </a:t>
            </a:r>
            <a:r>
              <a:rPr lang="ko-KR" altLang="en-US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송</a:t>
            </a:r>
            <a:r>
              <a:rPr lang="en-US" altLang="ko-KR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 모델 실행의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전 </a:t>
            </a:r>
            <a:r>
              <a:rPr lang="ko-KR" altLang="en-US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정을 진행할 경우 </a:t>
            </a:r>
            <a:r>
              <a:rPr lang="en-US" altLang="ko-KR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r>
              <a:rPr lang="ko-KR" altLang="en-US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대당 </a:t>
            </a:r>
            <a:r>
              <a:rPr lang="en-US" altLang="ko-KR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r>
              <a:rPr lang="ko-KR" altLang="en-US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초 이내로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판정 </a:t>
            </a:r>
            <a:r>
              <a:rPr lang="ko-KR" altLang="en-US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능할 것으로 판단</a:t>
            </a:r>
          </a:p>
        </p:txBody>
      </p:sp>
      <p:sp>
        <p:nvSpPr>
          <p:cNvPr id="93" name="Text Box 57">
            <a:extLst>
              <a:ext uri="{FF2B5EF4-FFF2-40B4-BE49-F238E27FC236}">
                <a16:creationId xmlns:a16="http://schemas.microsoft.com/office/drawing/2014/main" xmlns="" id="{29624071-9442-53AB-5E02-950EE49657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26298" y="4051143"/>
            <a:ext cx="3815962" cy="565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ko-KR" altLang="en-US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확보한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taset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을 활용하여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lidation</a:t>
            </a:r>
          </a:p>
          <a:p>
            <a:pPr eaLnBrk="1" hangingPunct="1">
              <a:spcBef>
                <a:spcPct val="0"/>
              </a:spcBef>
              <a:buNone/>
            </a:pPr>
            <a:r>
              <a:rPr lang="en-US" altLang="ko-KR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60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진행시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양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0%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됨을 확인</a:t>
            </a:r>
            <a:endParaRPr lang="ko-KR" altLang="en-US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종권 선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9" name="직사각형 13">
            <a:extLst>
              <a:ext uri="{FF2B5EF4-FFF2-40B4-BE49-F238E27FC236}">
                <a16:creationId xmlns:a16="http://schemas.microsoft.com/office/drawing/2014/main" xmlns="" id="{36CAB827-DCE8-82A4-8290-3D56F8A62A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6856" y="3214771"/>
            <a:ext cx="1613593" cy="237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800" tIns="10800" rIns="10800" bIns="10800">
            <a:spAutoFit/>
          </a:bodyPr>
          <a:lstStyle>
            <a:lvl1pPr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eaLnBrk="0" latinLnBrk="0" hangingPunct="0"/>
            <a:r>
              <a:rPr lang="ko-KR" altLang="en-US" sz="14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상세 감축 효과 </a:t>
            </a:r>
            <a:r>
              <a:rPr lang="ko-KR" altLang="en-US" sz="1400" b="0" dirty="0" err="1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검토중</a:t>
            </a:r>
            <a:endParaRPr lang="ko-KR" altLang="en-US" sz="1400" b="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5722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4398640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5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성공 및 변화 관리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모델 공유 및 확대전개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36471" y="705398"/>
            <a:ext cx="9225472" cy="39227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en-US" altLang="ko-KR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DX</a:t>
            </a:r>
            <a:r>
              <a:rPr lang="ko-KR" altLang="en-US" sz="2000" b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과제 검증 </a:t>
            </a:r>
            <a:r>
              <a:rPr lang="en-US" altLang="ko-KR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System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의 공유 및 </a:t>
            </a:r>
            <a:r>
              <a:rPr lang="ko-KR" altLang="en-US" sz="2000" b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배포 진행 </a:t>
            </a:r>
            <a:r>
              <a:rPr lang="en-US" altLang="ko-KR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_ </a:t>
            </a:r>
            <a:r>
              <a:rPr lang="ko-KR" altLang="en-US" sz="2000" b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연구소 내부 전파</a:t>
            </a:r>
            <a:endParaRPr lang="ko-KR" altLang="en-US" sz="20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948" y="1161236"/>
            <a:ext cx="6108414" cy="591069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검증 모델이 유효성 있다 판단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발실 내 과제 </a:t>
            </a:r>
            <a:r>
              <a:rPr lang="ko-KR" altLang="en-US" sz="160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공유회를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통한 전파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6/30)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제를 통한 업무 효율화 방안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진행 방법 소개 및 확대전개 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검토 설명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/>
          <a:srcRect r="16392"/>
          <a:stretch/>
        </p:blipFill>
        <p:spPr>
          <a:xfrm>
            <a:off x="542111" y="1853554"/>
            <a:ext cx="6232239" cy="4189424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566605" y="3787675"/>
            <a:ext cx="4131020" cy="43204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28862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43322" y="712441"/>
            <a:ext cx="9225472" cy="39227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en-US" altLang="ko-KR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DX</a:t>
            </a:r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과제 검증 </a:t>
            </a:r>
            <a:r>
              <a:rPr lang="en-US" altLang="ko-KR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System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의 공유 및 배포 진행 </a:t>
            </a:r>
            <a:r>
              <a:rPr lang="en-US" altLang="ko-KR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_ BM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사 확대 전개 검토 ①</a:t>
            </a:r>
            <a:endParaRPr lang="ko-KR" altLang="en-US" sz="20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948" y="1090482"/>
            <a:ext cx="7725843" cy="686608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&amp;D 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간담회 진행 시 자사의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념 설명 및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의 확대 전개 검토 요청</a:t>
            </a:r>
            <a:endParaRPr lang="en-US" altLang="ko-KR" sz="18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GE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연구소의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제 수행 성과 및 이에 따른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 업무로의 확대전개</a:t>
            </a:r>
            <a:endParaRPr lang="en-US" altLang="ko-KR" sz="18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4398640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5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성공 및 변화 관리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모델 공유 및 확대전개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272480" y="2060848"/>
            <a:ext cx="9443012" cy="3240000"/>
            <a:chOff x="272480" y="2633529"/>
            <a:chExt cx="9443012" cy="3240000"/>
          </a:xfrm>
        </p:grpSpPr>
        <p:pic>
          <p:nvPicPr>
            <p:cNvPr id="4" name="그림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057516" y="2633529"/>
              <a:ext cx="4657976" cy="3240000"/>
            </a:xfrm>
            <a:prstGeom prst="rect">
              <a:avLst/>
            </a:prstGeom>
          </p:spPr>
        </p:pic>
        <p:pic>
          <p:nvPicPr>
            <p:cNvPr id="5" name="그림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2480" y="2633529"/>
              <a:ext cx="4655349" cy="3240000"/>
            </a:xfrm>
            <a:prstGeom prst="rect">
              <a:avLst/>
            </a:prstGeom>
          </p:spPr>
        </p:pic>
      </p:grpSp>
      <p:sp>
        <p:nvSpPr>
          <p:cNvPr id="10" name="직사각형 9"/>
          <p:cNvSpPr/>
          <p:nvPr/>
        </p:nvSpPr>
        <p:spPr>
          <a:xfrm>
            <a:off x="776536" y="4093548"/>
            <a:ext cx="2448272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직사각형 12"/>
          <p:cNvSpPr/>
          <p:nvPr/>
        </p:nvSpPr>
        <p:spPr>
          <a:xfrm>
            <a:off x="5481770" y="4093548"/>
            <a:ext cx="2448272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50204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43876" y="709675"/>
            <a:ext cx="9225472" cy="39227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en-US" altLang="ko-KR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DX</a:t>
            </a:r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과제 검증 </a:t>
            </a:r>
            <a:r>
              <a:rPr lang="en-US" altLang="ko-KR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System</a:t>
            </a:r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의 공유 및 배포 진행 </a:t>
            </a:r>
            <a:r>
              <a:rPr lang="en-US" altLang="ko-KR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_ BM</a:t>
            </a:r>
            <a:r>
              <a:rPr lang="ko-KR" altLang="en-US" sz="2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사 확대 전개 검토 </a:t>
            </a:r>
            <a:r>
              <a:rPr lang="ko-KR" altLang="en-US" sz="2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②</a:t>
            </a:r>
            <a:endParaRPr lang="ko-KR" altLang="en-US" sz="2000" b="1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748" y="1103660"/>
            <a:ext cx="8863975" cy="686608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확대전개를 위해 희성전자에 모델 소개 진행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8/7)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실질적인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 불량 자동화 확대 전개 적용 검토를 위한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 유관 부서 설명 회의 진행 예정</a:t>
            </a:r>
            <a:endParaRPr lang="en-US" altLang="ko-KR" sz="18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4398640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5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성공 및 변화 관리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모델 공유 및 확대전개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462" y="1934082"/>
            <a:ext cx="6206485" cy="43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151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852" y="1739357"/>
            <a:ext cx="8529370" cy="4327024"/>
          </a:xfrm>
          <a:prstGeom prst="rect">
            <a:avLst/>
          </a:prstGeom>
        </p:spPr>
      </p:pic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4398640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5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성공 및 변화 관리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모델 공유 및 확대전개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52847" y="706517"/>
            <a:ext cx="9225472" cy="39227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ko-KR" altLang="en-US" sz="2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검증 </a:t>
            </a:r>
            <a:r>
              <a:rPr lang="en-US" altLang="ko-KR" sz="2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System</a:t>
            </a:r>
            <a:r>
              <a:rPr lang="ko-KR" altLang="en-US" sz="2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의 공유 및 배포 진행</a:t>
            </a:r>
            <a:endParaRPr lang="ko-KR" altLang="en-US" sz="2000" b="1" dirty="0">
              <a:solidFill>
                <a:srgbClr val="C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948" y="1141708"/>
            <a:ext cx="5606673" cy="354210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개발 실장님 완료 과제 보고를 통해 검증 모델의 성과 소개</a:t>
            </a:r>
            <a:r>
              <a:rPr lang="en-US" altLang="ko-KR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(7/7)</a:t>
            </a:r>
            <a:endParaRPr lang="en-US" altLang="ko-KR" sz="18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96456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4162999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5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성공 및 변화 관리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사업본부 성과 창출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xmlns="" id="{B592534E-8E78-440E-8D33-9E128FF330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540" y="1467268"/>
            <a:ext cx="6552728" cy="4533333"/>
          </a:xfrm>
          <a:prstGeom prst="rect">
            <a:avLst/>
          </a:prstGeom>
          <a:ln>
            <a:noFill/>
          </a:ln>
        </p:spPr>
      </p:pic>
      <p:sp>
        <p:nvSpPr>
          <p:cNvPr id="9" name="TextBox 8"/>
          <p:cNvSpPr txBox="1"/>
          <p:nvPr/>
        </p:nvSpPr>
        <p:spPr>
          <a:xfrm>
            <a:off x="128588" y="695226"/>
            <a:ext cx="59490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발실 내에서 진행하는 유사 내용의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Lv2 </a:t>
            </a:r>
            <a:r>
              <a:rPr lang="ko-KR" altLang="en-US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제의 진행 지원</a:t>
            </a:r>
            <a:endParaRPr lang="en-US" altLang="ko-KR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새로운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nsight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통해 판정 모델의 개선 유도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799778" y="4741143"/>
            <a:ext cx="5832648" cy="79208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팀장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65197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913" y="2209318"/>
            <a:ext cx="8992338" cy="3811970"/>
          </a:xfrm>
          <a:prstGeom prst="rect">
            <a:avLst/>
          </a:prstGeom>
        </p:spPr>
      </p:pic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4162999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5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성공 및 변화 관리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사업본부 성과 창출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4690" y="702737"/>
            <a:ext cx="919514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실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내 유사 과제 다수 </a:t>
            </a:r>
            <a:r>
              <a:rPr lang="ko-KR" altLang="en-US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진행중으로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향후 불량 판정 완전 자동화에 깊이 기여할 수 있을 것으로 기대됨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  <a:p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과제 수행 지원을 통해 효율적인 과제 수행 유도</a:t>
            </a:r>
            <a:endParaRPr lang="en-US" altLang="ko-KR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en-US" altLang="ko-KR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협력사의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X 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역량 강화 및 문화 전파를 통해 업무 효율화 개선 및 경쟁력 강화가 될 것으로 기대됨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endParaRPr lang="en-US" altLang="ko-KR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99002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4398640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5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성공 및 변화 관리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모델 공유 및 확대전개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37791" y="704515"/>
            <a:ext cx="9225472" cy="39227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ko-KR" altLang="en-US" sz="2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검증 모델 적용 검토</a:t>
            </a:r>
            <a:endParaRPr lang="ko-KR" altLang="en-US" sz="2000" b="1" dirty="0">
              <a:solidFill>
                <a:srgbClr val="C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7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948" y="1087497"/>
            <a:ext cx="8888021" cy="1351406"/>
          </a:xfrm>
          <a:prstGeom prst="rect">
            <a:avLst/>
          </a:prstGeom>
          <a:noFill/>
          <a:ln>
            <a:noFill/>
          </a:ln>
        </p:spPr>
        <p:txBody>
          <a:bodyPr wrap="non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장기 </a:t>
            </a:r>
            <a:r>
              <a:rPr lang="en-US" altLang="ko-KR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Plan</a:t>
            </a:r>
            <a:r>
              <a:rPr lang="ko-KR" altLang="en-US" sz="1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을</a:t>
            </a:r>
            <a:r>
              <a:rPr lang="en-US" altLang="ko-KR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 </a:t>
            </a:r>
            <a:r>
              <a:rPr lang="ko-KR" altLang="en-US" sz="1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통해 </a:t>
            </a:r>
            <a:r>
              <a:rPr lang="en-US" altLang="ko-KR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BM</a:t>
            </a:r>
            <a:r>
              <a:rPr lang="ko-KR" altLang="en-US" sz="1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사 불량 판정 자동화 실제 </a:t>
            </a:r>
            <a:r>
              <a:rPr lang="ko-KR" altLang="en-US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적용 </a:t>
            </a:r>
            <a:r>
              <a:rPr lang="ko-KR" altLang="en-US" sz="1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가능 여부 검토 진행 중</a:t>
            </a:r>
            <a:endParaRPr lang="en-US" altLang="ko-KR" sz="18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→ 실제 적용을 위한 시설투자 필요</a:t>
            </a:r>
            <a:r>
              <a:rPr lang="en-US" altLang="ko-KR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, </a:t>
            </a:r>
            <a:r>
              <a:rPr lang="ko-KR" altLang="en-US" sz="1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유효성 검토 후 투자성 검토 예정</a:t>
            </a:r>
            <a:endParaRPr lang="en-US" altLang="ko-KR" sz="18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→ 모듈 배면 촬영을 위한 카메라 및 </a:t>
            </a:r>
            <a:r>
              <a:rPr lang="en-US" altLang="ko-KR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Data Lake </a:t>
            </a:r>
            <a:r>
              <a:rPr lang="ko-KR" altLang="en-US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구성을 위한 서버 </a:t>
            </a:r>
            <a:r>
              <a:rPr lang="ko-KR" altLang="en-US" sz="1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투자 비용 필요성 등을 감안하여도</a:t>
            </a:r>
            <a:endParaRPr lang="en-US" altLang="ko-KR" sz="18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     인력 감축으로 인한 비용 절감이 투자 비용보다 클 것으로 예상</a:t>
            </a:r>
            <a:r>
              <a:rPr lang="en-US" altLang="ko-KR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. (BM</a:t>
            </a:r>
            <a:r>
              <a:rPr lang="ko-KR" altLang="en-US" sz="1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사 상세 검토 예정</a:t>
            </a:r>
            <a:r>
              <a:rPr lang="en-US" altLang="ko-KR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)</a:t>
            </a:r>
            <a:endParaRPr lang="en-US" altLang="ko-KR" sz="18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F850E31B-8005-60E9-2A03-B687125E54EE}"/>
              </a:ext>
            </a:extLst>
          </p:cNvPr>
          <p:cNvSpPr/>
          <p:nvPr/>
        </p:nvSpPr>
        <p:spPr>
          <a:xfrm>
            <a:off x="137791" y="2974601"/>
            <a:ext cx="9225472" cy="39227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 </a:t>
            </a:r>
            <a:r>
              <a:rPr lang="ko-KR" altLang="en-US" sz="2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모델 적용 및 개선활동</a:t>
            </a:r>
            <a:endParaRPr lang="ko-KR" altLang="en-US" sz="2000" b="1" dirty="0">
              <a:solidFill>
                <a:srgbClr val="C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0" name="Text Box 57">
            <a:extLst>
              <a:ext uri="{FF2B5EF4-FFF2-40B4-BE49-F238E27FC236}">
                <a16:creationId xmlns:a16="http://schemas.microsoft.com/office/drawing/2014/main" xmlns="" id="{DD46D738-9FF9-B166-9EB5-2C6B32020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5927" y="3520058"/>
            <a:ext cx="8883548" cy="1351406"/>
          </a:xfrm>
          <a:prstGeom prst="rect">
            <a:avLst/>
          </a:prstGeom>
          <a:noFill/>
          <a:ln>
            <a:noFill/>
          </a:ln>
        </p:spPr>
        <p:txBody>
          <a:bodyPr wrap="square" lIns="10800" tIns="10800" rIns="10800" bIns="10800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- </a:t>
            </a:r>
            <a:r>
              <a:rPr lang="ko-KR" altLang="en-US" sz="1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월 단위 협력사 회의를 </a:t>
            </a:r>
            <a:r>
              <a:rPr lang="ko-KR" altLang="en-US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통한 </a:t>
            </a:r>
            <a:r>
              <a:rPr lang="en-US" altLang="ko-KR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BM</a:t>
            </a:r>
            <a:r>
              <a:rPr lang="ko-KR" altLang="en-US" sz="1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사 불량 판정 자동화 추진 점검</a:t>
            </a:r>
            <a:endParaRPr lang="en-US" altLang="ko-KR" sz="18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- </a:t>
            </a:r>
            <a:r>
              <a:rPr lang="ko-KR" altLang="en-US" sz="1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이슈 </a:t>
            </a:r>
            <a:r>
              <a:rPr lang="ko-KR" altLang="en-US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발생 시 판정 모델의 유지 </a:t>
            </a:r>
            <a:r>
              <a:rPr lang="en-US" altLang="ko-KR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/ </a:t>
            </a:r>
            <a:r>
              <a:rPr lang="ko-KR" altLang="en-US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보수 진행</a:t>
            </a:r>
            <a:endParaRPr lang="en-US" altLang="ko-KR" sz="18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- </a:t>
            </a:r>
            <a:r>
              <a:rPr lang="ko-KR" altLang="en-US" sz="1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모델 </a:t>
            </a:r>
            <a:r>
              <a:rPr lang="ko-KR" altLang="en-US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성능 판정 및 이슈 확인을 위한 정기 회의체 개최</a:t>
            </a:r>
            <a:endParaRPr lang="en-US" altLang="ko-KR" sz="18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- </a:t>
            </a:r>
            <a:r>
              <a:rPr lang="ko-KR" altLang="en-US" sz="1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확대 </a:t>
            </a:r>
            <a:r>
              <a:rPr lang="ko-KR" altLang="en-US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전개 가능한 자동화 아이템 발굴 및 </a:t>
            </a:r>
            <a:r>
              <a:rPr lang="en-US" altLang="ko-KR" sz="1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DX </a:t>
            </a:r>
            <a:r>
              <a:rPr lang="ko-KR" altLang="en-US" sz="1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역량 강화</a:t>
            </a:r>
            <a:endParaRPr lang="en-US" altLang="ko-KR" sz="18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74039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803926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5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성공 및 </a:t>
            </a:r>
            <a:r>
              <a:rPr lang="ko-KR" altLang="en-US" sz="2400" b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변화 관리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_</a:t>
            </a:r>
            <a:r>
              <a:rPr lang="ko-KR" altLang="en-US" sz="1600" b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양산 모델 적용</a:t>
            </a:r>
            <a:endParaRPr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479" y="2949324"/>
            <a:ext cx="4716616" cy="255246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0A6C2689-C93C-42AB-8FE8-08076FAF1FC0}"/>
              </a:ext>
            </a:extLst>
          </p:cNvPr>
          <p:cNvSpPr txBox="1"/>
          <p:nvPr/>
        </p:nvSpPr>
        <p:spPr bwMode="auto">
          <a:xfrm>
            <a:off x="180975" y="683047"/>
            <a:ext cx="9633520" cy="68890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rtlCol="0">
            <a:spAutoFit/>
          </a:bodyPr>
          <a:lstStyle>
            <a:defPPr>
              <a:defRPr lang="ko-KR"/>
            </a:defPPr>
            <a:lvl1pPr marL="176213" indent="-176213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  <a:defRPr kumimoji="1" sz="1200"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</a:lstStyle>
          <a:p>
            <a:pPr marL="0" indent="0">
              <a:buNone/>
              <a:defRPr/>
            </a:pPr>
            <a:r>
              <a:rPr lang="ko-KR" altLang="en-US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양 </a:t>
            </a:r>
            <a:r>
              <a:rPr lang="en-US" altLang="ko-KR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/ </a:t>
            </a:r>
            <a:r>
              <a:rPr lang="ko-KR" altLang="en-US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불 판정 </a:t>
            </a:r>
            <a:r>
              <a:rPr lang="en-US" altLang="ko-KR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System</a:t>
            </a:r>
            <a:r>
              <a:rPr lang="ko-KR" altLang="en-US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의 </a:t>
            </a:r>
            <a:r>
              <a:rPr lang="en-US" altLang="ko-KR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BM</a:t>
            </a:r>
            <a:r>
              <a:rPr lang="ko-KR" altLang="en-US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사 배포 및 사용을 위하여 </a:t>
            </a:r>
            <a:r>
              <a:rPr lang="en-US" altLang="ko-KR" sz="1800" dirty="0" err="1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Qt</a:t>
            </a:r>
            <a:r>
              <a:rPr lang="en-US" altLang="ko-KR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 Designer </a:t>
            </a:r>
            <a:r>
              <a:rPr lang="ko-KR" altLang="en-US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프로그램을 사용하여 </a:t>
            </a:r>
            <a:endParaRPr lang="en-US" altLang="ko-KR" sz="1800" dirty="0" smtClean="0">
              <a:solidFill>
                <a:srgbClr val="000000"/>
              </a:solidFill>
              <a:latin typeface="LG스마트체 Regular" panose="020B0600000101010101" pitchFamily="50" charset="-127"/>
            </a:endParaRPr>
          </a:p>
          <a:p>
            <a:pPr marL="0" indent="0">
              <a:buNone/>
              <a:defRPr/>
            </a:pPr>
            <a:r>
              <a:rPr lang="ko-KR" altLang="en-US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판정 시스템 </a:t>
            </a:r>
            <a:r>
              <a:rPr lang="en-US" altLang="ko-KR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UI</a:t>
            </a:r>
            <a:r>
              <a:rPr lang="ko-KR" altLang="en-US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구축 및 배포 추진</a:t>
            </a:r>
            <a:endParaRPr lang="en-US" altLang="ko-KR" sz="1800" dirty="0">
              <a:solidFill>
                <a:srgbClr val="000000"/>
              </a:solidFill>
              <a:latin typeface="LG스마트체 Regular" panose="020B0600000101010101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0A6C2689-C93C-42AB-8FE8-08076FAF1FC0}"/>
              </a:ext>
            </a:extLst>
          </p:cNvPr>
          <p:cNvSpPr txBox="1"/>
          <p:nvPr/>
        </p:nvSpPr>
        <p:spPr bwMode="auto">
          <a:xfrm>
            <a:off x="5186112" y="2577136"/>
            <a:ext cx="4680520" cy="3600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rtlCol="0">
            <a:spAutoFit/>
          </a:bodyPr>
          <a:lstStyle>
            <a:defPPr>
              <a:defRPr lang="ko-KR"/>
            </a:defPPr>
            <a:lvl1pPr marL="176213" indent="-176213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  <a:defRPr kumimoji="1" sz="1200"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</a:lstStyle>
          <a:p>
            <a:pPr marL="0" indent="0">
              <a:buNone/>
              <a:defRPr/>
            </a:pPr>
            <a:r>
              <a:rPr lang="ko-KR" altLang="en-US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서버 투자를 통해 판정 모델의 </a:t>
            </a:r>
            <a:r>
              <a:rPr lang="en-US" altLang="ko-KR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Data Lake </a:t>
            </a:r>
            <a:r>
              <a:rPr lang="ko-KR" altLang="en-US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구성</a:t>
            </a:r>
            <a:endParaRPr lang="en-US" altLang="ko-KR" sz="1800" dirty="0">
              <a:solidFill>
                <a:srgbClr val="000000"/>
              </a:solidFill>
              <a:latin typeface="LG스마트체 Regular" panose="020B0600000101010101" pitchFamily="50" charset="-127"/>
            </a:endParaRPr>
          </a:p>
        </p:txBody>
      </p:sp>
      <p:pic>
        <p:nvPicPr>
          <p:cNvPr id="21" name="그림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4049" y="3105618"/>
            <a:ext cx="3801546" cy="2276508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0A6C2689-C93C-42AB-8FE8-08076FAF1FC0}"/>
              </a:ext>
            </a:extLst>
          </p:cNvPr>
          <p:cNvSpPr txBox="1"/>
          <p:nvPr/>
        </p:nvSpPr>
        <p:spPr bwMode="auto">
          <a:xfrm>
            <a:off x="1622390" y="2577136"/>
            <a:ext cx="2016794" cy="32880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rtlCol="0">
            <a:spAutoFit/>
          </a:bodyPr>
          <a:lstStyle>
            <a:defPPr>
              <a:defRPr lang="ko-KR"/>
            </a:defPPr>
            <a:lvl1pPr marL="176213" indent="-176213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  <a:defRPr kumimoji="1" sz="1200"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</a:lstStyle>
          <a:p>
            <a:pPr marL="0" indent="0">
              <a:buNone/>
              <a:defRPr/>
            </a:pPr>
            <a:r>
              <a:rPr lang="ko-KR" altLang="en-US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판정 시스템 </a:t>
            </a:r>
            <a:r>
              <a:rPr lang="en-US" altLang="ko-KR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UI </a:t>
            </a:r>
            <a:r>
              <a:rPr lang="ko-KR" altLang="en-US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구축</a:t>
            </a:r>
            <a:endParaRPr lang="en-US" altLang="ko-KR" sz="1800" dirty="0">
              <a:solidFill>
                <a:srgbClr val="000000"/>
              </a:solidFill>
              <a:latin typeface="LG스마트체 Regular" panose="020B0600000101010101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A6C2689-C93C-42AB-8FE8-08076FAF1FC0}"/>
              </a:ext>
            </a:extLst>
          </p:cNvPr>
          <p:cNvSpPr txBox="1"/>
          <p:nvPr/>
        </p:nvSpPr>
        <p:spPr bwMode="auto">
          <a:xfrm>
            <a:off x="392528" y="1430126"/>
            <a:ext cx="5458934" cy="32880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rtlCol="0">
            <a:spAutoFit/>
          </a:bodyPr>
          <a:lstStyle>
            <a:defPPr>
              <a:defRPr lang="ko-KR"/>
            </a:defPPr>
            <a:lvl1pPr marL="176213" indent="-176213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  <a:defRPr kumimoji="1" sz="1200"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</a:lstStyle>
          <a:p>
            <a:pPr marL="0" indent="0">
              <a:buNone/>
              <a:defRPr/>
            </a:pPr>
            <a:r>
              <a:rPr lang="ko-KR" altLang="en-US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→ 중장기 계획에 맞추어 상세 일정 수립 진행</a:t>
            </a:r>
            <a:r>
              <a:rPr lang="en-US" altLang="ko-KR" sz="1800" dirty="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.</a:t>
            </a:r>
            <a:endParaRPr lang="en-US" altLang="ko-KR" sz="1800" dirty="0">
              <a:solidFill>
                <a:srgbClr val="000000"/>
              </a:solidFill>
              <a:latin typeface="LG스마트체 Regular" panose="020B0600000101010101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0A6C2689-C93C-42AB-8FE8-08076FAF1FC0}"/>
              </a:ext>
            </a:extLst>
          </p:cNvPr>
          <p:cNvSpPr txBox="1"/>
          <p:nvPr/>
        </p:nvSpPr>
        <p:spPr bwMode="auto">
          <a:xfrm>
            <a:off x="1351044" y="2098882"/>
            <a:ext cx="2080075" cy="48013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rtlCol="0">
            <a:spAutoFit/>
          </a:bodyPr>
          <a:lstStyle>
            <a:defPPr>
              <a:defRPr lang="ko-KR"/>
            </a:defPPr>
            <a:lvl1pPr marL="176213" indent="-176213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  <a:defRPr kumimoji="1" sz="1200"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</a:lstStyle>
          <a:p>
            <a:pPr marL="0" indent="0">
              <a:buNone/>
              <a:defRPr/>
            </a:pPr>
            <a:r>
              <a:rPr lang="en-US" altLang="ko-KR" dirty="0" smtClean="0">
                <a:solidFill>
                  <a:srgbClr val="006600"/>
                </a:solidFill>
                <a:latin typeface="LG스마트체 Regular" panose="020B0600000101010101" pitchFamily="50" charset="-127"/>
              </a:rPr>
              <a:t>※ </a:t>
            </a:r>
            <a:r>
              <a:rPr lang="ko-KR" altLang="en-US" smtClean="0">
                <a:solidFill>
                  <a:srgbClr val="006600"/>
                </a:solidFill>
                <a:latin typeface="LG스마트체 Regular" panose="020B0600000101010101" pitchFamily="50" charset="-127"/>
              </a:rPr>
              <a:t>추가 </a:t>
            </a:r>
            <a:r>
              <a:rPr lang="ko-KR" altLang="en-US" dirty="0" smtClean="0">
                <a:solidFill>
                  <a:srgbClr val="006600"/>
                </a:solidFill>
                <a:latin typeface="LG스마트체 Regular" panose="020B0600000101010101" pitchFamily="50" charset="-127"/>
              </a:rPr>
              <a:t>자동화 평가 가능 항목</a:t>
            </a:r>
            <a:endParaRPr lang="en-US" altLang="ko-KR" dirty="0" smtClean="0">
              <a:solidFill>
                <a:srgbClr val="006600"/>
              </a:solidFill>
              <a:latin typeface="LG스마트체 Regular" panose="020B0600000101010101" pitchFamily="50" charset="-127"/>
            </a:endParaRPr>
          </a:p>
          <a:p>
            <a:pPr marL="0" indent="0">
              <a:buNone/>
              <a:defRPr/>
            </a:pPr>
            <a:r>
              <a:rPr lang="en-US" altLang="ko-KR" dirty="0" smtClean="0">
                <a:solidFill>
                  <a:srgbClr val="006600"/>
                </a:solidFill>
                <a:latin typeface="LG스마트체 Regular" panose="020B0600000101010101" pitchFamily="50" charset="-127"/>
              </a:rPr>
              <a:t>   Tape / Screw / </a:t>
            </a:r>
            <a:r>
              <a:rPr lang="ko-KR" altLang="en-US" smtClean="0">
                <a:solidFill>
                  <a:srgbClr val="006600"/>
                </a:solidFill>
                <a:latin typeface="LG스마트체 Regular" panose="020B0600000101010101" pitchFamily="50" charset="-127"/>
              </a:rPr>
              <a:t>빛샘 </a:t>
            </a:r>
            <a:r>
              <a:rPr lang="en-US" altLang="ko-KR" dirty="0" smtClean="0">
                <a:solidFill>
                  <a:srgbClr val="006600"/>
                </a:solidFill>
                <a:latin typeface="LG스마트체 Regular" panose="020B0600000101010101" pitchFamily="50" charset="-127"/>
              </a:rPr>
              <a:t>/ </a:t>
            </a:r>
            <a:r>
              <a:rPr lang="ko-KR" altLang="en-US" smtClean="0">
                <a:solidFill>
                  <a:srgbClr val="006600"/>
                </a:solidFill>
                <a:latin typeface="LG스마트체 Regular" panose="020B0600000101010101" pitchFamily="50" charset="-127"/>
              </a:rPr>
              <a:t>외관 등</a:t>
            </a:r>
            <a:r>
              <a:rPr lang="en-US" altLang="ko-KR" dirty="0" smtClean="0">
                <a:solidFill>
                  <a:srgbClr val="006600"/>
                </a:solidFill>
                <a:latin typeface="LG스마트체 Regular" panose="020B0600000101010101" pitchFamily="50" charset="-127"/>
              </a:rPr>
              <a:t> </a:t>
            </a:r>
            <a:endParaRPr lang="en-US" altLang="ko-KR" dirty="0">
              <a:solidFill>
                <a:srgbClr val="006600"/>
              </a:solidFill>
              <a:latin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60029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직사각형 145"/>
          <p:cNvSpPr/>
          <p:nvPr/>
        </p:nvSpPr>
        <p:spPr>
          <a:xfrm>
            <a:off x="5687635" y="1894123"/>
            <a:ext cx="4041781" cy="71973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endParaRPr lang="en-US" altLang="ko-KR" sz="1000" kern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aphicFrame>
        <p:nvGraphicFramePr>
          <p:cNvPr id="93" name="표 9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9869988"/>
              </p:ext>
            </p:extLst>
          </p:nvPr>
        </p:nvGraphicFramePr>
        <p:xfrm>
          <a:off x="569417" y="1899308"/>
          <a:ext cx="4470162" cy="715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70162"/>
              </a:tblGrid>
              <a:tr h="715700"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불량 판정의 자동화를 통해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B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사 작업자 감축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불량 검출 정확도 향상 및 판정 시간 단축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DX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기반 일하는 문화의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B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사 확대 전개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6" name="표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9899275"/>
              </p:ext>
            </p:extLst>
          </p:nvPr>
        </p:nvGraphicFramePr>
        <p:xfrm>
          <a:off x="1100137" y="2676005"/>
          <a:ext cx="8599436" cy="40846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9718"/>
                <a:gridCol w="4299718"/>
              </a:tblGrid>
              <a:tr h="30514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세부실행 항목 및 완료 조건</a:t>
                      </a:r>
                      <a:endParaRPr lang="ko-KR" altLang="en-US" sz="1200" b="1" kern="1200" dirty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이행 현황 및 이슈</a:t>
                      </a:r>
                      <a:endParaRPr lang="en-US" altLang="ko-KR" sz="12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703244">
                <a:tc rowSpan="3">
                  <a:txBody>
                    <a:bodyPr/>
                    <a:lstStyle/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BM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사 모듈조립 후 진행하는 외관검사를 통한 부자재류 누락 검출을 육안 검출방식에서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도면과의 이미지 </a:t>
                      </a: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Matching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을 통한 비교 분석 방식을 통해 자동적으로 불량을 검출해 낼 수 있는 시스템을 구축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271463" lvl="0" indent="-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System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전개도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None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완료조건 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모듈 부자재 누락 검출 자동 판정 모델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171450" lvl="0" indent="635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모듈의 부자재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(Tape)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에 대한 검출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17145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None/>
                      </a:pP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→ 향후 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crew, Pad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류 등 판정 항목에 대한 추가 발굴 예정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171450" lvl="0" indent="635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도면과의 이미지 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Matching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을 통한 간편한 시스템 구축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171450" lvl="0" indent="635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System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수평전개를 통한 판정 </a:t>
                      </a:r>
                      <a:r>
                        <a:rPr lang="ko-KR" altLang="en-US" sz="1000" b="1" kern="1200" baseline="0" dirty="0" err="1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적확도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증대</a:t>
                      </a:r>
                      <a:endParaRPr lang="ko-KR" altLang="en-US" sz="1000" b="1" kern="1200" dirty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q"/>
                        <a:tabLst/>
                        <a:defRPr/>
                      </a:pP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자동화 시스템 구축을 위한 현업 인터뷰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3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q"/>
                        <a:tabLst/>
                        <a:defRPr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DX Tool</a:t>
                      </a: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개발 및 적용 환경 구축</a:t>
                      </a:r>
                      <a:endParaRPr lang="en-US" altLang="ko-KR" sz="1000" b="1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Data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입력 시스템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양불 판정 기준 수립 및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base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검증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의 업로드를 위한 신규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ystem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  (BM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사의 이미지 데이터 및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LGE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도면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e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의 연동 및 실시간 수정사항 반영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판정 프로그램 배포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3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q"/>
                        <a:tabLst/>
                        <a:defRPr/>
                      </a:pP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개발 </a:t>
                      </a: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Tool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활용 </a:t>
                      </a: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Pilot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진행</a:t>
                      </a:r>
                      <a:endParaRPr lang="en-US" altLang="ko-KR" sz="1000" b="1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대표모델 선정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판정결과 확인 및 개선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전 모델로의 수평전개 진행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3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q"/>
                        <a:tabLst/>
                        <a:defRPr/>
                      </a:pP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현업 전파 및 </a:t>
                      </a: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ystem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</a:t>
                      </a:r>
                      <a:endParaRPr lang="en-US" altLang="ko-KR" sz="1000" b="1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업체별 시스템 배포 및 판정 환경 구축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업체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Feedback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수렴 및 개선활동 진행</a:t>
                      </a:r>
                      <a:endParaRPr lang="en-US" altLang="ko-KR" sz="1000" b="1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5143">
                <a:tc vMerge="1"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altLang="ko-KR" sz="12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Bottle Neck</a:t>
                      </a:r>
                      <a:endParaRPr lang="ko-KR" altLang="en-US" sz="1200" b="1" kern="1200" dirty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553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지원요청 사항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271463" lvl="0" indent="-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현 수준 확인 및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ystem 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을 위한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BM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사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X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역량 강화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필요</a:t>
                      </a:r>
                      <a:endParaRPr lang="en-US" altLang="ko-KR" sz="1000" b="0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271463" lvl="0" indent="-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BM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사의 이미지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와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LGE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의 도면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를 연동시킬 수 있는 신규 시스템 구축</a:t>
                      </a:r>
                      <a:endParaRPr lang="en-US" altLang="ko-KR" sz="1000" b="0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271463" lvl="0" indent="-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검출용 이미지의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base 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을 위한 서버 투자 필요</a:t>
                      </a:r>
                      <a:endParaRPr lang="en-US" altLang="ko-KR" sz="1000" b="0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직사각형 13"/>
          <p:cNvSpPr>
            <a:spLocks noChangeArrowheads="1"/>
          </p:cNvSpPr>
          <p:nvPr/>
        </p:nvSpPr>
        <p:spPr bwMode="auto">
          <a:xfrm>
            <a:off x="53973" y="187537"/>
            <a:ext cx="17140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>
            <a:spAutoFit/>
          </a:bodyPr>
          <a:lstStyle>
            <a:lvl1pPr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2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DX </a:t>
            </a:r>
            <a:r>
              <a:rPr lang="ko-KR" altLang="en-US" sz="2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과제 등록서</a:t>
            </a:r>
            <a:endParaRPr lang="ko-KR" altLang="en-US" sz="200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112" name="직사각형 111"/>
          <p:cNvSpPr/>
          <p:nvPr/>
        </p:nvSpPr>
        <p:spPr>
          <a:xfrm>
            <a:off x="154883" y="2674463"/>
            <a:ext cx="900000" cy="407046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r>
              <a:rPr lang="ko-KR" altLang="en-US" sz="1200" b="1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내용</a:t>
            </a:r>
            <a:endParaRPr lang="en-US" altLang="ko-KR" sz="1200" b="1" kern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24" name="직사각형 123"/>
          <p:cNvSpPr/>
          <p:nvPr/>
        </p:nvSpPr>
        <p:spPr>
          <a:xfrm>
            <a:off x="154883" y="810279"/>
            <a:ext cx="900000" cy="37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r>
              <a:rPr lang="ko-KR" altLang="en-US" sz="1200" b="1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과제명</a:t>
            </a:r>
            <a:endParaRPr lang="en-US" altLang="ko-KR" sz="1200" b="1" kern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43" name="직사각형 142"/>
          <p:cNvSpPr/>
          <p:nvPr/>
        </p:nvSpPr>
        <p:spPr>
          <a:xfrm>
            <a:off x="154883" y="1897913"/>
            <a:ext cx="370897" cy="71511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KPI</a:t>
            </a:r>
            <a:endParaRPr lang="en-US" altLang="ko-KR" sz="1200" b="1" kern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45" name="직사각형 144"/>
          <p:cNvSpPr/>
          <p:nvPr>
            <p:custDataLst>
              <p:tags r:id="rId3"/>
            </p:custDataLst>
          </p:nvPr>
        </p:nvSpPr>
        <p:spPr>
          <a:xfrm>
            <a:off x="5102173" y="1894123"/>
            <a:ext cx="523781" cy="7197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추진</a:t>
            </a:r>
            <a:endParaRPr lang="en-US" altLang="ko-KR" sz="1200" b="1" kern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  <a:p>
            <a:pPr algn="ctr" latinLnBrk="0">
              <a:lnSpc>
                <a:spcPts val="1500"/>
              </a:lnSpc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일정</a:t>
            </a:r>
            <a:endParaRPr lang="en-US" altLang="ko-KR" sz="1200" b="1" kern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aphicFrame>
        <p:nvGraphicFramePr>
          <p:cNvPr id="71" name="표 70"/>
          <p:cNvGraphicFramePr>
            <a:graphicFrameLocks noGrp="1"/>
          </p:cNvGraphicFramePr>
          <p:nvPr>
            <p:extLst/>
          </p:nvPr>
        </p:nvGraphicFramePr>
        <p:xfrm>
          <a:off x="154883" y="1248385"/>
          <a:ext cx="900000" cy="6092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/>
              </a:tblGrid>
              <a:tr h="211902">
                <a:tc>
                  <a:txBody>
                    <a:bodyPr/>
                    <a:lstStyle/>
                    <a:p>
                      <a:pPr algn="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객가치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8688">
                <a:tc>
                  <a:txBody>
                    <a:bodyPr/>
                    <a:lstStyle/>
                    <a:p>
                      <a:pPr algn="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업가치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8688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ata</a:t>
                      </a:r>
                      <a:r>
                        <a:rPr lang="en-US" altLang="ko-KR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1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활용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3" name="표 72"/>
          <p:cNvGraphicFramePr>
            <a:graphicFrameLocks noGrp="1"/>
          </p:cNvGraphicFramePr>
          <p:nvPr>
            <p:extLst/>
          </p:nvPr>
        </p:nvGraphicFramePr>
        <p:xfrm>
          <a:off x="1100137" y="1252005"/>
          <a:ext cx="3962930" cy="6053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2930"/>
              </a:tblGrid>
              <a:tr h="6053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 모듈 조립 후 진행하는 모듈 배면 부자재 부착 검사를 도면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Matching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을 이용한 자동화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yste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으로 개선하여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의 품질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생산성 향상 및 업무효율화에 기여함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4" name="직사각형 73"/>
          <p:cNvSpPr/>
          <p:nvPr>
            <p:custDataLst>
              <p:tags r:id="rId4"/>
            </p:custDataLst>
          </p:nvPr>
        </p:nvSpPr>
        <p:spPr>
          <a:xfrm>
            <a:off x="5102173" y="810277"/>
            <a:ext cx="523781" cy="102506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r>
              <a:rPr lang="ko-KR" altLang="en-US" sz="1200" b="1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실행</a:t>
            </a:r>
            <a:endParaRPr lang="en-US" altLang="ko-KR" sz="1200" b="1" kern="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  <a:p>
            <a:pPr algn="ctr" latinLnBrk="0">
              <a:lnSpc>
                <a:spcPts val="1500"/>
              </a:lnSpc>
            </a:pPr>
            <a:r>
              <a:rPr lang="ko-KR" altLang="en-US" sz="1200" b="1" kern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조직</a:t>
            </a:r>
            <a:endParaRPr lang="en-US" altLang="ko-KR" sz="1200" b="1" kern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aphicFrame>
        <p:nvGraphicFramePr>
          <p:cNvPr id="78" name="표 77"/>
          <p:cNvGraphicFramePr>
            <a:graphicFrameLocks noGrp="1"/>
          </p:cNvGraphicFramePr>
          <p:nvPr>
            <p:extLst/>
          </p:nvPr>
        </p:nvGraphicFramePr>
        <p:xfrm>
          <a:off x="5685414" y="811392"/>
          <a:ext cx="413429" cy="10221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429"/>
              </a:tblGrid>
              <a:tr h="51106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성명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72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06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팀명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72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9" name="표 78"/>
          <p:cNvGraphicFramePr>
            <a:graphicFrameLocks noGrp="1"/>
          </p:cNvGraphicFramePr>
          <p:nvPr>
            <p:extLst/>
          </p:nvPr>
        </p:nvGraphicFramePr>
        <p:xfrm>
          <a:off x="6161428" y="807173"/>
          <a:ext cx="3565767" cy="10263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65767"/>
              </a:tblGrid>
              <a:tr h="519108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유병천 팀장 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원종권 선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723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V UHD1 Project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0" name="직사각형 79"/>
          <p:cNvSpPr/>
          <p:nvPr/>
        </p:nvSpPr>
        <p:spPr>
          <a:xfrm>
            <a:off x="226007" y="1275265"/>
            <a:ext cx="144000" cy="144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226007" y="1484830"/>
            <a:ext cx="144000" cy="144000"/>
          </a:xfrm>
          <a:prstGeom prst="rect">
            <a:avLst/>
          </a:prstGeom>
          <a:solidFill>
            <a:srgbClr val="C00000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399573" y="1382253"/>
            <a:ext cx="700564" cy="92333"/>
          </a:xfrm>
          <a:prstGeom prst="rect">
            <a:avLst/>
          </a:prstGeom>
          <a:solidFill>
            <a:schemeClr val="bg1">
              <a:alpha val="3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defTabSz="6268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X for Customer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399573" y="1597613"/>
            <a:ext cx="700564" cy="92333"/>
          </a:xfrm>
          <a:prstGeom prst="rect">
            <a:avLst/>
          </a:prstGeom>
          <a:solidFill>
            <a:schemeClr val="bg1">
              <a:alpha val="3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defTabSz="6268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X for Company</a:t>
            </a:r>
          </a:p>
        </p:txBody>
      </p:sp>
      <p:cxnSp>
        <p:nvCxnSpPr>
          <p:cNvPr id="172" name="직선 연결선 171"/>
          <p:cNvCxnSpPr/>
          <p:nvPr/>
        </p:nvCxnSpPr>
        <p:spPr>
          <a:xfrm>
            <a:off x="69037" y="709630"/>
            <a:ext cx="9786163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직사각형 2"/>
          <p:cNvSpPr/>
          <p:nvPr/>
        </p:nvSpPr>
        <p:spPr>
          <a:xfrm>
            <a:off x="1100137" y="810277"/>
            <a:ext cx="3956782" cy="378002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AI(</a:t>
            </a:r>
            <a:r>
              <a:rPr lang="ko-KR" altLang="en-US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이미지분석</a:t>
            </a: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ko-KR" altLang="en-US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을 이용한 모듈 배면 부자재 점검</a:t>
            </a: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endParaRPr lang="en-US" altLang="ko-KR" sz="1200" b="1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226007" y="1688348"/>
            <a:ext cx="144000" cy="144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7" name="직선 연결선 26"/>
          <p:cNvCxnSpPr/>
          <p:nvPr/>
        </p:nvCxnSpPr>
        <p:spPr>
          <a:xfrm>
            <a:off x="6006695" y="2121386"/>
            <a:ext cx="3546880" cy="0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Box 3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15989" y="2309480"/>
            <a:ext cx="392735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M</a:t>
            </a: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 공정 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heck</a:t>
            </a:r>
          </a:p>
        </p:txBody>
      </p:sp>
      <p:grpSp>
        <p:nvGrpSpPr>
          <p:cNvPr id="29" name="그룹 28"/>
          <p:cNvGrpSpPr/>
          <p:nvPr/>
        </p:nvGrpSpPr>
        <p:grpSpPr>
          <a:xfrm>
            <a:off x="6239640" y="2051021"/>
            <a:ext cx="144000" cy="144000"/>
            <a:chOff x="6416896" y="2127540"/>
            <a:chExt cx="144000" cy="144000"/>
          </a:xfrm>
        </p:grpSpPr>
        <p:sp>
          <p:nvSpPr>
            <p:cNvPr id="45" name="타원 44"/>
            <p:cNvSpPr/>
            <p:nvPr/>
          </p:nvSpPr>
          <p:spPr>
            <a:xfrm>
              <a:off x="6416896" y="2127540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46" name="Text Box 31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465651" y="2144140"/>
              <a:ext cx="46488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8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41" name="Text Box 3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52425" y="2309480"/>
            <a:ext cx="522579" cy="96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초기 모델 구현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7235696" y="2049386"/>
            <a:ext cx="144000" cy="144000"/>
            <a:chOff x="6647879" y="2127540"/>
            <a:chExt cx="144000" cy="144000"/>
          </a:xfrm>
        </p:grpSpPr>
        <p:sp>
          <p:nvSpPr>
            <p:cNvPr id="43" name="타원 42"/>
            <p:cNvSpPr/>
            <p:nvPr/>
          </p:nvSpPr>
          <p:spPr>
            <a:xfrm>
              <a:off x="6647879" y="2127540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44" name="Text Box 31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6673391" y="2144140"/>
              <a:ext cx="92974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11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37" name="Text Box 3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689304" y="2309480"/>
            <a:ext cx="341439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 평가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및 </a:t>
            </a: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최적화</a:t>
            </a:r>
            <a:endParaRPr lang="ko-KR" altLang="en-US" sz="70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38" name="그룹 37"/>
          <p:cNvGrpSpPr/>
          <p:nvPr/>
        </p:nvGrpSpPr>
        <p:grpSpPr>
          <a:xfrm>
            <a:off x="7782955" y="2049386"/>
            <a:ext cx="144000" cy="144000"/>
            <a:chOff x="6416896" y="2127540"/>
            <a:chExt cx="144000" cy="144000"/>
          </a:xfrm>
        </p:grpSpPr>
        <p:sp>
          <p:nvSpPr>
            <p:cNvPr id="39" name="타원 38"/>
            <p:cNvSpPr/>
            <p:nvPr/>
          </p:nvSpPr>
          <p:spPr>
            <a:xfrm>
              <a:off x="6416896" y="2127540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40" name="Text Box 31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6465651" y="2144140"/>
              <a:ext cx="46488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3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32" name="Text Box 3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193360" y="2309480"/>
            <a:ext cx="320601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확대검증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33" name="그룹 32"/>
          <p:cNvGrpSpPr/>
          <p:nvPr/>
        </p:nvGrpSpPr>
        <p:grpSpPr>
          <a:xfrm>
            <a:off x="8287498" y="2049386"/>
            <a:ext cx="144000" cy="144000"/>
            <a:chOff x="6416896" y="2127540"/>
            <a:chExt cx="144000" cy="144000"/>
          </a:xfrm>
        </p:grpSpPr>
        <p:sp>
          <p:nvSpPr>
            <p:cNvPr id="35" name="타원 34"/>
            <p:cNvSpPr/>
            <p:nvPr/>
          </p:nvSpPr>
          <p:spPr>
            <a:xfrm>
              <a:off x="6416896" y="2127540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36" name="Text Box 31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6465652" y="2144140"/>
              <a:ext cx="46488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9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34" name="직사각형 33"/>
          <p:cNvSpPr/>
          <p:nvPr/>
        </p:nvSpPr>
        <p:spPr>
          <a:xfrm>
            <a:off x="5892128" y="1909765"/>
            <a:ext cx="2968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2</a:t>
            </a:r>
            <a:endParaRPr lang="ko-KR" altLang="en-US" dirty="0"/>
          </a:p>
        </p:txBody>
      </p:sp>
      <p:grpSp>
        <p:nvGrpSpPr>
          <p:cNvPr id="5" name="그룹 4"/>
          <p:cNvGrpSpPr/>
          <p:nvPr/>
        </p:nvGrpSpPr>
        <p:grpSpPr>
          <a:xfrm>
            <a:off x="6732943" y="2055150"/>
            <a:ext cx="144000" cy="144000"/>
            <a:chOff x="6471415" y="2203421"/>
            <a:chExt cx="144000" cy="144000"/>
          </a:xfrm>
        </p:grpSpPr>
        <p:sp>
          <p:nvSpPr>
            <p:cNvPr id="48" name="타원 47"/>
            <p:cNvSpPr/>
            <p:nvPr/>
          </p:nvSpPr>
          <p:spPr>
            <a:xfrm>
              <a:off x="6471415" y="2203421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49" name="Text Box 31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520170" y="2220021"/>
              <a:ext cx="46488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9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51" name="Text Box 3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630991" y="2309480"/>
            <a:ext cx="338233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필요 </a:t>
            </a:r>
            <a:r>
              <a:rPr lang="en-US" altLang="ko-KR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ata</a:t>
            </a: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수집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9197769" y="1909765"/>
            <a:ext cx="2968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‘25</a:t>
            </a:r>
            <a:endParaRPr lang="ko-KR" altLang="en-US" dirty="0"/>
          </a:p>
        </p:txBody>
      </p:sp>
      <p:sp>
        <p:nvSpPr>
          <p:cNvPr id="54" name="Text Box 3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197169" y="2309480"/>
            <a:ext cx="320601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Global</a:t>
            </a: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수평전개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331813" y="3703026"/>
            <a:ext cx="4032250" cy="2139483"/>
          </a:xfrm>
          <a:prstGeom prst="rect">
            <a:avLst/>
          </a:prstGeom>
        </p:spPr>
      </p:pic>
      <p:sp>
        <p:nvSpPr>
          <p:cNvPr id="50" name="직사각형 49"/>
          <p:cNvSpPr/>
          <p:nvPr/>
        </p:nvSpPr>
        <p:spPr>
          <a:xfrm>
            <a:off x="7536444" y="1909765"/>
            <a:ext cx="2968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3</a:t>
            </a:r>
            <a:endParaRPr lang="ko-KR" altLang="en-US" dirty="0"/>
          </a:p>
        </p:txBody>
      </p:sp>
      <p:sp>
        <p:nvSpPr>
          <p:cNvPr id="52" name="직사각형 51"/>
          <p:cNvSpPr/>
          <p:nvPr/>
        </p:nvSpPr>
        <p:spPr>
          <a:xfrm>
            <a:off x="8643603" y="1909765"/>
            <a:ext cx="2968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4</a:t>
            </a:r>
            <a:endParaRPr lang="ko-KR" altLang="en-US" dirty="0"/>
          </a:p>
        </p:txBody>
      </p:sp>
      <p:sp>
        <p:nvSpPr>
          <p:cNvPr id="55" name="Text Box 3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686997" y="2309480"/>
            <a:ext cx="341439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시스템 및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설비 구축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57856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모서리가 둥근 직사각형 3"/>
          <p:cNvSpPr/>
          <p:nvPr/>
        </p:nvSpPr>
        <p:spPr>
          <a:xfrm>
            <a:off x="416496" y="1765296"/>
            <a:ext cx="9340419" cy="4544024"/>
          </a:xfrm>
          <a:prstGeom prst="roundRect">
            <a:avLst>
              <a:gd name="adj" fmla="val 3144"/>
            </a:avLst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818353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2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실행 과제 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Impact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선정 배경</a:t>
            </a:r>
            <a:endParaRPr lang="ko-KR" altLang="en-US" sz="16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xmlns="" id="{9C263224-92CF-2F03-C781-0661956775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9332" y="692951"/>
            <a:ext cx="10022260" cy="852808"/>
          </a:xfrm>
          <a:prstGeom prst="rect">
            <a:avLst/>
          </a:prstGeom>
          <a:noFill/>
          <a:ln>
            <a:noFill/>
          </a:ln>
        </p:spPr>
        <p:txBody>
          <a:bodyPr wrap="square" lIns="10800" tIns="10800" rIns="10800" bIns="10800" anchor="t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BM </a:t>
            </a:r>
            <a:r>
              <a:rPr lang="ko-KR" altLang="en-US" sz="18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협력사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] </a:t>
            </a:r>
          </a:p>
          <a:p>
            <a:pPr eaLnBrk="1" hangingPunct="1">
              <a:spcBef>
                <a:spcPct val="0"/>
              </a:spcBef>
              <a:buNone/>
            </a:pP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모듈 조립 후 부자재 부착 불량 확인을 작업자가 육안으로 진행하며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</a:p>
          <a:p>
            <a:pPr eaLnBrk="1" hangingPunct="1">
              <a:spcBef>
                <a:spcPct val="0"/>
              </a:spcBef>
              <a:buNone/>
            </a:pPr>
            <a:r>
              <a:rPr lang="ko-KR" altLang="en-US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판정 편차 및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uman Error </a:t>
            </a:r>
            <a:r>
              <a:rPr lang="ko-KR" altLang="en-US" sz="18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발생 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isk</a:t>
            </a:r>
            <a:r>
              <a:rPr lang="ko-KR" altLang="en-US" sz="18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 존재함</a:t>
            </a:r>
            <a:r>
              <a:rPr lang="en-US" altLang="ko-KR" sz="1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endParaRPr lang="ko-KR" altLang="en-US" sz="18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pSp>
        <p:nvGrpSpPr>
          <p:cNvPr id="46" name="그룹 45"/>
          <p:cNvGrpSpPr/>
          <p:nvPr/>
        </p:nvGrpSpPr>
        <p:grpSpPr>
          <a:xfrm>
            <a:off x="844291" y="2236838"/>
            <a:ext cx="3154495" cy="2738405"/>
            <a:chOff x="1784648" y="2300513"/>
            <a:chExt cx="3154495" cy="2738405"/>
          </a:xfrm>
        </p:grpSpPr>
        <p:pic>
          <p:nvPicPr>
            <p:cNvPr id="41" name="그림 40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2" t="1861" r="525" b="999"/>
            <a:stretch/>
          </p:blipFill>
          <p:spPr>
            <a:xfrm>
              <a:off x="1784648" y="3284984"/>
              <a:ext cx="3154495" cy="1753934"/>
            </a:xfrm>
            <a:prstGeom prst="rect">
              <a:avLst/>
            </a:prstGeom>
          </p:spPr>
        </p:pic>
        <p:grpSp>
          <p:nvGrpSpPr>
            <p:cNvPr id="42" name="그룹 41"/>
            <p:cNvGrpSpPr/>
            <p:nvPr/>
          </p:nvGrpSpPr>
          <p:grpSpPr>
            <a:xfrm>
              <a:off x="1928663" y="2300513"/>
              <a:ext cx="1098817" cy="1150780"/>
              <a:chOff x="1085246" y="3916763"/>
              <a:chExt cx="640729" cy="876052"/>
            </a:xfrm>
          </p:grpSpPr>
          <p:sp>
            <p:nvSpPr>
              <p:cNvPr id="43" name="사다리꼴 42"/>
              <p:cNvSpPr/>
              <p:nvPr/>
            </p:nvSpPr>
            <p:spPr bwMode="auto">
              <a:xfrm rot="19430140">
                <a:off x="1146455" y="4073335"/>
                <a:ext cx="579520" cy="719480"/>
              </a:xfrm>
              <a:prstGeom prst="trapezoid">
                <a:avLst>
                  <a:gd name="adj" fmla="val 2699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ko-KR" altLang="en-US" sz="1100" b="1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  <a:cs typeface="Arial" panose="020B0604020202020204" pitchFamily="34" charset="0"/>
                </a:endParaRPr>
              </a:p>
            </p:txBody>
          </p:sp>
          <p:pic>
            <p:nvPicPr>
              <p:cNvPr id="44" name="그림 43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085246" y="3916763"/>
                <a:ext cx="384379" cy="408839"/>
              </a:xfrm>
              <a:prstGeom prst="rect">
                <a:avLst/>
              </a:prstGeom>
            </p:spPr>
          </p:pic>
        </p:grpSp>
        <p:sp>
          <p:nvSpPr>
            <p:cNvPr id="16" name="Text Box 2"/>
            <p:cNvSpPr txBox="1">
              <a:spLocks noChangeArrowheads="1"/>
            </p:cNvSpPr>
            <p:nvPr/>
          </p:nvSpPr>
          <p:spPr bwMode="auto">
            <a:xfrm>
              <a:off x="2274717" y="2923927"/>
              <a:ext cx="620422" cy="2614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91311" tIns="45661" rIns="91311" bIns="45661">
              <a:spAutoFit/>
            </a:bodyPr>
            <a:lstStyle/>
            <a:p>
              <a:pPr fontAlgn="base">
                <a:spcAft>
                  <a:spcPct val="0"/>
                </a:spcAft>
              </a:pPr>
              <a:r>
                <a:rPr lang="en-US" altLang="ko-KR" sz="1100" dirty="0" smtClean="0">
                  <a:solidFill>
                    <a:srgbClr val="FF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  <a:cs typeface="Arial" charset="0"/>
                </a:rPr>
                <a:t>OK / NG</a:t>
              </a:r>
              <a:endParaRPr lang="en-US" altLang="ko-KR" sz="1100" dirty="0">
                <a:solidFill>
                  <a:srgbClr val="FF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endParaRPr>
            </a:p>
          </p:txBody>
        </p:sp>
      </p:grpSp>
      <p:sp>
        <p:nvSpPr>
          <p:cNvPr id="47" name="AutoShape 9"/>
          <p:cNvSpPr>
            <a:spLocks noChangeArrowheads="1"/>
          </p:cNvSpPr>
          <p:nvPr/>
        </p:nvSpPr>
        <p:spPr bwMode="auto">
          <a:xfrm>
            <a:off x="890824" y="5383666"/>
            <a:ext cx="8238640" cy="622996"/>
          </a:xfrm>
          <a:prstGeom prst="roundRect">
            <a:avLst>
              <a:gd name="adj" fmla="val 14912"/>
            </a:avLst>
          </a:prstGeom>
          <a:solidFill>
            <a:srgbClr val="FFC000"/>
          </a:solidFill>
          <a:ln w="3175" algn="ctr">
            <a:solidFill>
              <a:srgbClr val="5F5F5F"/>
            </a:solidFill>
            <a:round/>
            <a:headEnd/>
            <a:tailEnd/>
          </a:ln>
          <a:effectLst>
            <a:outerShdw dist="35921" dir="2700000" algn="ctr" rotWithShape="0">
              <a:srgbClr val="DDDDDD"/>
            </a:outerShdw>
          </a:effectLst>
        </p:spPr>
        <p:txBody>
          <a:bodyPr wrap="none" lIns="119693" tIns="59844" rIns="119693" bIns="59844" anchor="ctr"/>
          <a:lstStyle/>
          <a:p>
            <a:pPr algn="ctr" fontAlgn="base">
              <a:spcBef>
                <a:spcPct val="10000"/>
              </a:spcBef>
              <a:spcAft>
                <a:spcPct val="0"/>
              </a:spcAft>
            </a:pPr>
            <a:r>
              <a:rPr lang="ko-KR" altLang="en-US" sz="20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불량 판정의 신뢰성 </a:t>
            </a:r>
            <a:r>
              <a:rPr lang="ko-KR" altLang="en-US" sz="2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및 효율성을 높이기 위해 자동화 </a:t>
            </a:r>
            <a:r>
              <a:rPr lang="ko-KR" altLang="en-US" sz="20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시스템 구축을 목표로 함</a:t>
            </a:r>
            <a:endParaRPr kumimoji="1" lang="en-US" altLang="ko-KR" sz="2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17" name="그림 1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" t="1861" r="525" b="999"/>
          <a:stretch/>
        </p:blipFill>
        <p:spPr>
          <a:xfrm>
            <a:off x="6018155" y="3247243"/>
            <a:ext cx="3107851" cy="1728000"/>
          </a:xfrm>
          <a:prstGeom prst="rect">
            <a:avLst/>
          </a:prstGeom>
        </p:spPr>
      </p:pic>
      <p:sp>
        <p:nvSpPr>
          <p:cNvPr id="20" name="사다리꼴 19"/>
          <p:cNvSpPr/>
          <p:nvPr/>
        </p:nvSpPr>
        <p:spPr bwMode="auto">
          <a:xfrm rot="2169860" flipH="1">
            <a:off x="7922600" y="2524573"/>
            <a:ext cx="1006425" cy="997968"/>
          </a:xfrm>
          <a:prstGeom prst="trapezoid">
            <a:avLst>
              <a:gd name="adj" fmla="val 26992"/>
            </a:avLst>
          </a:prstGeom>
          <a:solidFill>
            <a:schemeClr val="tx2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ko-KR" altLang="en-US" sz="11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18" name="그림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30792" y="2388567"/>
            <a:ext cx="873644" cy="599297"/>
          </a:xfrm>
          <a:prstGeom prst="rect">
            <a:avLst/>
          </a:prstGeom>
        </p:spPr>
      </p:pic>
      <p:sp>
        <p:nvSpPr>
          <p:cNvPr id="19" name="직사각형 18"/>
          <p:cNvSpPr/>
          <p:nvPr/>
        </p:nvSpPr>
        <p:spPr>
          <a:xfrm>
            <a:off x="8060901" y="1857574"/>
            <a:ext cx="151471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6435" indent="-46435"/>
            <a:r>
              <a:rPr lang="en-US" altLang="ko-KR" sz="2000" dirty="0">
                <a:solidFill>
                  <a:prstClr val="black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Vision </a:t>
            </a:r>
            <a:r>
              <a:rPr lang="en-US" altLang="ko-KR" sz="2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camera</a:t>
            </a:r>
            <a:endParaRPr lang="ko-KR" altLang="en-US" sz="2000" dirty="0">
              <a:solidFill>
                <a:prstClr val="black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6027149" y="2636654"/>
            <a:ext cx="1431802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6435" indent="-46435"/>
            <a:r>
              <a:rPr lang="en-US" altLang="ko-KR" sz="15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- Auto Sensing</a:t>
            </a:r>
          </a:p>
          <a:p>
            <a:pPr marL="46435" indent="-46435"/>
            <a:r>
              <a:rPr lang="en-US" altLang="ko-KR" sz="15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- No Human Error</a:t>
            </a:r>
            <a:endParaRPr lang="ko-KR" altLang="en-US" sz="1500" dirty="0">
              <a:solidFill>
                <a:prstClr val="black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4" name="이등변 삼각형 23"/>
          <p:cNvSpPr/>
          <p:nvPr/>
        </p:nvSpPr>
        <p:spPr bwMode="auto">
          <a:xfrm rot="5400000">
            <a:off x="4296104" y="3578780"/>
            <a:ext cx="1340067" cy="1087820"/>
          </a:xfrm>
          <a:prstGeom prst="triangle">
            <a:avLst/>
          </a:prstGeom>
          <a:gradFill flip="none" rotWithShape="1">
            <a:gsLst>
              <a:gs pos="37000">
                <a:schemeClr val="tx1">
                  <a:lumMod val="50000"/>
                  <a:lumOff val="50000"/>
                </a:schemeClr>
              </a:gs>
              <a:gs pos="85000">
                <a:schemeClr val="bg1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" tIns="0" rIns="7200" bIns="0"/>
          <a:lstStyle>
            <a:defPPr>
              <a:defRPr lang="ko-KR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342900" indent="-342900">
              <a:defRPr/>
            </a:pPr>
            <a:endParaRPr lang="ko-KR" altLang="en-US" sz="1200" b="1" dirty="0">
              <a:solidFill>
                <a:prstClr val="black"/>
              </a:solidFill>
              <a:latin typeface="Arial" panose="020B0604020202020204" pitchFamily="34" charset="0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2506184" y="2615633"/>
            <a:ext cx="1415772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6435" indent="-46435"/>
            <a:r>
              <a:rPr lang="en-US" altLang="ko-KR" sz="15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- Manual Sensing</a:t>
            </a:r>
          </a:p>
          <a:p>
            <a:pPr marL="46435" indent="-46435"/>
            <a:r>
              <a:rPr lang="en-US" altLang="ko-KR" sz="15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- Human Error</a:t>
            </a:r>
            <a:endParaRPr lang="ko-KR" altLang="en-US" sz="1500" dirty="0">
              <a:solidFill>
                <a:prstClr val="black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756212" y="1857574"/>
            <a:ext cx="134363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6435" indent="-46435"/>
            <a:r>
              <a:rPr lang="en-US" altLang="ko-KR" sz="2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Human EYE</a:t>
            </a:r>
            <a:endParaRPr lang="ko-KR" altLang="en-US" sz="2000" dirty="0">
              <a:solidFill>
                <a:prstClr val="black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9" name="Text Box 2"/>
          <p:cNvSpPr txBox="1">
            <a:spLocks noChangeArrowheads="1"/>
          </p:cNvSpPr>
          <p:nvPr/>
        </p:nvSpPr>
        <p:spPr bwMode="auto">
          <a:xfrm>
            <a:off x="7990035" y="3012652"/>
            <a:ext cx="620422" cy="2614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311" tIns="45661" rIns="91311" bIns="45661">
            <a:spAutoFit/>
          </a:bodyPr>
          <a:lstStyle/>
          <a:p>
            <a:pPr fontAlgn="base">
              <a:spcAft>
                <a:spcPct val="0"/>
              </a:spcAft>
            </a:pPr>
            <a:r>
              <a:rPr lang="en-US" altLang="ko-KR" sz="1100" dirty="0" smtClean="0">
                <a:solidFill>
                  <a:srgbClr val="FF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OK / NG</a:t>
            </a:r>
            <a:endParaRPr lang="en-US" altLang="ko-KR" sz="1100" dirty="0">
              <a:solidFill>
                <a:srgbClr val="FF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6"/>
          <a:srcRect t="51157" b="21539"/>
          <a:stretch/>
        </p:blipFill>
        <p:spPr>
          <a:xfrm>
            <a:off x="5300045" y="78314"/>
            <a:ext cx="4481437" cy="702080"/>
          </a:xfrm>
          <a:prstGeom prst="rect">
            <a:avLst/>
          </a:prstGeom>
          <a:ln w="63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870422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모서리가 둥근 직사각형 23"/>
          <p:cNvSpPr/>
          <p:nvPr/>
        </p:nvSpPr>
        <p:spPr>
          <a:xfrm>
            <a:off x="851338" y="2506717"/>
            <a:ext cx="2948152" cy="433552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모서리가 둥근 직사각형 24"/>
          <p:cNvSpPr/>
          <p:nvPr/>
        </p:nvSpPr>
        <p:spPr>
          <a:xfrm>
            <a:off x="851338" y="3712780"/>
            <a:ext cx="2948152" cy="433552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모서리가 둥근 직사각형 25"/>
          <p:cNvSpPr/>
          <p:nvPr/>
        </p:nvSpPr>
        <p:spPr>
          <a:xfrm>
            <a:off x="851338" y="4903077"/>
            <a:ext cx="2948152" cy="433552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모서리가 둥근 직사각형 6"/>
          <p:cNvSpPr/>
          <p:nvPr/>
        </p:nvSpPr>
        <p:spPr>
          <a:xfrm>
            <a:off x="851338" y="1292772"/>
            <a:ext cx="2948152" cy="433552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818353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2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실행 과제 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Impact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과제 선정 배경</a:t>
            </a:r>
            <a:endParaRPr lang="ko-KR" altLang="en-US" sz="16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8" name="Text Box 57"/>
          <p:cNvSpPr txBox="1">
            <a:spLocks noChangeArrowheads="1"/>
          </p:cNvSpPr>
          <p:nvPr/>
        </p:nvSpPr>
        <p:spPr bwMode="auto">
          <a:xfrm>
            <a:off x="5366146" y="1496484"/>
            <a:ext cx="4160912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000" b="1" dirty="0" smtClean="0">
                <a:latin typeface="LG스마트체 Regular" pitchFamily="50" charset="-127"/>
                <a:ea typeface="LG스마트체 Regular" pitchFamily="50" charset="-127"/>
              </a:rPr>
              <a:t>부자재 불량 검출 시스템 개선의 필요</a:t>
            </a:r>
            <a:endParaRPr lang="en-US" altLang="ko-KR" sz="2000" b="1" dirty="0" smtClean="0">
              <a:latin typeface="LG스마트체 Regular" pitchFamily="50" charset="-127"/>
              <a:ea typeface="LG스마트체 Regular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ko-KR" sz="2000" b="1" dirty="0" smtClean="0">
              <a:latin typeface="LG스마트체 Regular" pitchFamily="50" charset="-127"/>
              <a:ea typeface="LG스마트체 Regular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000" b="1" dirty="0" smtClean="0">
                <a:latin typeface="LG스마트체 Regular" pitchFamily="50" charset="-127"/>
                <a:ea typeface="LG스마트체 Regular" pitchFamily="50" charset="-127"/>
              </a:rPr>
              <a:t>→ 자동 불량 검출 시스템 구축 </a:t>
            </a:r>
          </a:p>
        </p:txBody>
      </p:sp>
      <p:sp>
        <p:nvSpPr>
          <p:cNvPr id="3" name="직사각형 2"/>
          <p:cNvSpPr/>
          <p:nvPr/>
        </p:nvSpPr>
        <p:spPr>
          <a:xfrm>
            <a:off x="848544" y="1301791"/>
            <a:ext cx="3384376" cy="43204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2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ustomer (</a:t>
            </a:r>
            <a:r>
              <a:rPr lang="ko-KR" altLang="en-US" sz="2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</a:t>
            </a:r>
            <a:r>
              <a:rPr lang="en-US" altLang="ko-KR" sz="2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ko-KR" altLang="en-US" sz="2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848544" y="2525927"/>
            <a:ext cx="3384376" cy="43204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2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ompetitor (</a:t>
            </a:r>
            <a:r>
              <a:rPr lang="ko-KR" altLang="en-US" sz="2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경쟁사</a:t>
            </a:r>
            <a:r>
              <a:rPr lang="en-US" altLang="ko-KR" sz="2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ko-KR" altLang="en-US" sz="200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848544" y="3717111"/>
            <a:ext cx="3384376" cy="43204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2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ompany (</a:t>
            </a:r>
            <a:r>
              <a:rPr lang="ko-KR" altLang="en-US" sz="2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회사</a:t>
            </a:r>
            <a:r>
              <a:rPr lang="en-US" altLang="ko-KR" sz="2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ko-KR" altLang="en-US" sz="200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848544" y="4902191"/>
            <a:ext cx="3384376" cy="43204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2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orce at </a:t>
            </a:r>
            <a:r>
              <a:rPr lang="en-US" altLang="ko-KR" sz="2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Work (</a:t>
            </a:r>
            <a:r>
              <a:rPr lang="ko-KR" altLang="en-US" sz="2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력</a:t>
            </a:r>
            <a:r>
              <a:rPr lang="en-US" altLang="ko-KR" sz="2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ko-KR" altLang="en-US" sz="2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9" name="Text Box 57"/>
          <p:cNvSpPr txBox="1">
            <a:spLocks noChangeArrowheads="1"/>
          </p:cNvSpPr>
          <p:nvPr/>
        </p:nvSpPr>
        <p:spPr bwMode="auto">
          <a:xfrm>
            <a:off x="848544" y="1733839"/>
            <a:ext cx="353935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altLang="ko-KR" sz="1400" b="1" dirty="0" smtClean="0"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400" b="1" dirty="0" smtClean="0">
                <a:latin typeface="LG스마트체 Regular" pitchFamily="50" charset="-127"/>
                <a:ea typeface="LG스마트체 Regular" pitchFamily="50" charset="-127"/>
              </a:rPr>
              <a:t>부자재 누락 불량으로 인한 품질 </a:t>
            </a:r>
            <a:r>
              <a:rPr lang="en-US" altLang="ko-KR" sz="1400" b="1" dirty="0" smtClean="0">
                <a:latin typeface="LG스마트체 Regular" pitchFamily="50" charset="-127"/>
                <a:ea typeface="LG스마트체 Regular" pitchFamily="50" charset="-127"/>
              </a:rPr>
              <a:t>Issue </a:t>
            </a:r>
            <a:r>
              <a:rPr lang="ko-KR" altLang="en-US" sz="1400" b="1" dirty="0" smtClean="0">
                <a:latin typeface="LG스마트체 Regular" pitchFamily="50" charset="-127"/>
                <a:ea typeface="LG스마트체 Regular" pitchFamily="50" charset="-127"/>
              </a:rPr>
              <a:t>발생</a:t>
            </a:r>
            <a:endParaRPr lang="en-US" altLang="ko-KR" sz="1400" b="1" dirty="0" smtClean="0">
              <a:latin typeface="LG스마트체 Regular" pitchFamily="50" charset="-127"/>
              <a:ea typeface="LG스마트체 Regular" pitchFamily="50" charset="-127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ko-KR" altLang="en-US" sz="1400" b="1" dirty="0" smtClean="0">
                <a:latin typeface="LG스마트체 Regular" pitchFamily="50" charset="-127"/>
                <a:ea typeface="LG스마트체 Regular" pitchFamily="50" charset="-127"/>
              </a:rPr>
              <a:t> → 불량에 대한 고객 </a:t>
            </a:r>
            <a:r>
              <a:rPr lang="en-US" altLang="ko-KR" sz="1400" b="1" dirty="0" smtClean="0">
                <a:latin typeface="LG스마트체 Regular" pitchFamily="50" charset="-127"/>
                <a:ea typeface="LG스마트체 Regular" pitchFamily="50" charset="-127"/>
              </a:rPr>
              <a:t>Claim </a:t>
            </a:r>
            <a:r>
              <a:rPr lang="ko-KR" altLang="en-US" sz="1400" b="1" dirty="0" smtClean="0">
                <a:latin typeface="LG스마트체 Regular" pitchFamily="50" charset="-127"/>
                <a:ea typeface="LG스마트체 Regular" pitchFamily="50" charset="-127"/>
              </a:rPr>
              <a:t>및 불만족도 상승</a:t>
            </a:r>
          </a:p>
        </p:txBody>
      </p:sp>
      <p:sp>
        <p:nvSpPr>
          <p:cNvPr id="20" name="Text Box 57"/>
          <p:cNvSpPr txBox="1">
            <a:spLocks noChangeArrowheads="1"/>
          </p:cNvSpPr>
          <p:nvPr/>
        </p:nvSpPr>
        <p:spPr bwMode="auto">
          <a:xfrm>
            <a:off x="848544" y="2957975"/>
            <a:ext cx="338437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altLang="ko-KR" sz="1400" b="1" dirty="0" smtClean="0"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400" b="1" smtClean="0">
                <a:latin typeface="LG스마트체 Regular" pitchFamily="50" charset="-127"/>
                <a:ea typeface="LG스마트체 Regular" pitchFamily="50" charset="-127"/>
              </a:rPr>
              <a:t>경쟁사 제품 대비 가격 </a:t>
            </a:r>
            <a:r>
              <a:rPr lang="ko-KR" altLang="en-US" sz="1400" b="1" dirty="0" smtClean="0">
                <a:latin typeface="LG스마트체 Regular" pitchFamily="50" charset="-127"/>
                <a:ea typeface="LG스마트체 Regular" pitchFamily="50" charset="-127"/>
              </a:rPr>
              <a:t>및 품질 우위</a:t>
            </a:r>
            <a:endParaRPr lang="en-US" altLang="ko-KR" sz="1400" b="1" dirty="0" smtClean="0">
              <a:latin typeface="LG스마트체 Regular" pitchFamily="50" charset="-127"/>
              <a:ea typeface="LG스마트체 Regular" pitchFamily="50" charset="-127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en-US" altLang="ko-KR" sz="1400" b="1" dirty="0" smtClean="0"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400" b="1" smtClean="0">
                <a:latin typeface="LG스마트체 Regular" pitchFamily="50" charset="-127"/>
                <a:ea typeface="LG스마트체 Regular" pitchFamily="50" charset="-127"/>
              </a:rPr>
              <a:t>→ 불량 </a:t>
            </a:r>
            <a:r>
              <a:rPr lang="ko-KR" altLang="en-US" sz="1400" b="1" dirty="0" smtClean="0">
                <a:latin typeface="LG스마트체 Regular" pitchFamily="50" charset="-127"/>
                <a:ea typeface="LG스마트체 Regular" pitchFamily="50" charset="-127"/>
              </a:rPr>
              <a:t>검출 능력 증대</a:t>
            </a:r>
          </a:p>
        </p:txBody>
      </p:sp>
      <p:sp>
        <p:nvSpPr>
          <p:cNvPr id="21" name="Text Box 57"/>
          <p:cNvSpPr txBox="1">
            <a:spLocks noChangeArrowheads="1"/>
          </p:cNvSpPr>
          <p:nvPr/>
        </p:nvSpPr>
        <p:spPr bwMode="auto">
          <a:xfrm>
            <a:off x="848544" y="4148718"/>
            <a:ext cx="338437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altLang="ko-KR" sz="1400" b="1" dirty="0" smtClean="0"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400" b="1" dirty="0" smtClean="0">
                <a:latin typeface="LG스마트체 Regular" pitchFamily="50" charset="-127"/>
                <a:ea typeface="LG스마트체 Regular" pitchFamily="50" charset="-127"/>
              </a:rPr>
              <a:t>불량 모듈 출하로 인한 품질비용 발생</a:t>
            </a:r>
            <a:endParaRPr lang="en-US" altLang="ko-KR" sz="1400" b="1" dirty="0" smtClean="0">
              <a:latin typeface="LG스마트체 Regular" pitchFamily="50" charset="-127"/>
              <a:ea typeface="LG스마트체 Regular" pitchFamily="50" charset="-127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en-US" altLang="ko-KR" sz="1400" b="1" dirty="0" smtClean="0"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400" b="1" smtClean="0">
                <a:latin typeface="LG스마트체 Regular" pitchFamily="50" charset="-127"/>
                <a:ea typeface="LG스마트체 Regular" pitchFamily="50" charset="-127"/>
              </a:rPr>
              <a:t>→</a:t>
            </a:r>
            <a:r>
              <a:rPr lang="en-US" altLang="ko-KR" sz="1400" b="1" dirty="0" smtClean="0"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400" b="1" dirty="0" smtClean="0">
                <a:latin typeface="LG스마트체 Regular" pitchFamily="50" charset="-127"/>
                <a:ea typeface="LG스마트체 Regular" pitchFamily="50" charset="-127"/>
              </a:rPr>
              <a:t>불량 검출 시스템 개선의 필요성</a:t>
            </a:r>
          </a:p>
        </p:txBody>
      </p:sp>
      <p:sp>
        <p:nvSpPr>
          <p:cNvPr id="22" name="Text Box 57"/>
          <p:cNvSpPr txBox="1">
            <a:spLocks noChangeArrowheads="1"/>
          </p:cNvSpPr>
          <p:nvPr/>
        </p:nvSpPr>
        <p:spPr bwMode="auto">
          <a:xfrm>
            <a:off x="848544" y="5334239"/>
            <a:ext cx="374441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altLang="ko-KR" sz="1400" b="1" dirty="0" smtClean="0"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400" b="1" smtClean="0">
                <a:latin typeface="LG스마트체 Regular" pitchFamily="50" charset="-127"/>
                <a:ea typeface="LG스마트체 Regular" pitchFamily="50" charset="-127"/>
              </a:rPr>
              <a:t>사람의 작업으로 인한 </a:t>
            </a:r>
            <a:r>
              <a:rPr lang="en-US" altLang="ko-KR" sz="1400" b="1" dirty="0" smtClean="0">
                <a:latin typeface="LG스마트체 Regular" pitchFamily="50" charset="-127"/>
                <a:ea typeface="LG스마트체 Regular" pitchFamily="50" charset="-127"/>
              </a:rPr>
              <a:t>Human Error </a:t>
            </a:r>
            <a:r>
              <a:rPr lang="ko-KR" altLang="en-US" sz="1400" b="1" dirty="0" smtClean="0">
                <a:latin typeface="LG스마트체 Regular" pitchFamily="50" charset="-127"/>
                <a:ea typeface="LG스마트체 Regular" pitchFamily="50" charset="-127"/>
              </a:rPr>
              <a:t>발생</a:t>
            </a:r>
            <a:endParaRPr lang="en-US" altLang="ko-KR" sz="1400" b="1" dirty="0" smtClean="0">
              <a:latin typeface="LG스마트체 Regular" pitchFamily="50" charset="-127"/>
              <a:ea typeface="LG스마트체 Regular" pitchFamily="50" charset="-127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ko-KR" altLang="en-US" sz="1400" b="1" dirty="0" smtClean="0">
                <a:latin typeface="LG스마트체 Regular" pitchFamily="50" charset="-127"/>
                <a:ea typeface="LG스마트체 Regular" pitchFamily="50" charset="-127"/>
              </a:rPr>
              <a:t> → 물가 상승으로 인해 작업자 인건비 증가 부담</a:t>
            </a:r>
            <a:endParaRPr lang="en-US" altLang="ko-KR" sz="1400" b="1" dirty="0" smtClean="0">
              <a:latin typeface="LG스마트체 Regular" pitchFamily="50" charset="-127"/>
              <a:ea typeface="LG스마트체 Regular" pitchFamily="50" charset="-127"/>
            </a:endParaRPr>
          </a:p>
        </p:txBody>
      </p:sp>
      <p:pic>
        <p:nvPicPr>
          <p:cNvPr id="16" name="그림 15"/>
          <p:cNvPicPr>
            <a:picLocks noChangeAspect="1"/>
          </p:cNvPicPr>
          <p:nvPr/>
        </p:nvPicPr>
        <p:blipFill rotWithShape="1">
          <a:blip r:embed="rId2"/>
          <a:srcRect l="67611" t="77473" r="11537"/>
          <a:stretch/>
        </p:blipFill>
        <p:spPr>
          <a:xfrm>
            <a:off x="6030993" y="3502721"/>
            <a:ext cx="3234955" cy="189893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6020029" y="3134865"/>
            <a:ext cx="30492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lt;23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년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E 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본부 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OP 10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제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7" name="이등변 삼각형 26"/>
          <p:cNvSpPr/>
          <p:nvPr/>
        </p:nvSpPr>
        <p:spPr bwMode="auto">
          <a:xfrm rot="5400000">
            <a:off x="3539357" y="3105813"/>
            <a:ext cx="2561900" cy="606972"/>
          </a:xfrm>
          <a:prstGeom prst="triangle">
            <a:avLst/>
          </a:prstGeom>
          <a:gradFill flip="none" rotWithShape="1">
            <a:gsLst>
              <a:gs pos="37000">
                <a:schemeClr val="tx1">
                  <a:lumMod val="50000"/>
                  <a:lumOff val="50000"/>
                </a:schemeClr>
              </a:gs>
              <a:gs pos="85000">
                <a:schemeClr val="bg1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" tIns="0" rIns="7200" bIns="0"/>
          <a:lstStyle>
            <a:defPPr>
              <a:defRPr lang="ko-KR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342900" indent="-342900">
              <a:defRPr/>
            </a:pPr>
            <a:endParaRPr lang="ko-KR" altLang="en-US" sz="1200" b="1" dirty="0">
              <a:solidFill>
                <a:prstClr val="black"/>
              </a:solidFill>
              <a:latin typeface="Arial" panose="020B0604020202020204" pitchFamily="34" charset="0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416496" y="859221"/>
            <a:ext cx="9340419" cy="5450099"/>
          </a:xfrm>
          <a:prstGeom prst="roundRect">
            <a:avLst>
              <a:gd name="adj" fmla="val 3144"/>
            </a:avLst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모서리가 둥근 직사각형 31"/>
          <p:cNvSpPr/>
          <p:nvPr/>
        </p:nvSpPr>
        <p:spPr>
          <a:xfrm>
            <a:off x="5801709" y="2998075"/>
            <a:ext cx="3523593" cy="2464676"/>
          </a:xfrm>
          <a:prstGeom prst="roundRect">
            <a:avLst>
              <a:gd name="adj" fmla="val 3554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11215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4300857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2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실행 과제 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Impact_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조직전략과의 연관성</a:t>
            </a:r>
            <a:endParaRPr lang="ko-KR" altLang="en-US" sz="16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272481" y="2315358"/>
            <a:ext cx="9402521" cy="4321925"/>
            <a:chOff x="272481" y="1305893"/>
            <a:chExt cx="9402521" cy="4321925"/>
          </a:xfrm>
        </p:grpSpPr>
        <p:grpSp>
          <p:nvGrpSpPr>
            <p:cNvPr id="15" name="그룹 14"/>
            <p:cNvGrpSpPr/>
            <p:nvPr/>
          </p:nvGrpSpPr>
          <p:grpSpPr>
            <a:xfrm>
              <a:off x="5575920" y="1305893"/>
              <a:ext cx="4099082" cy="4321925"/>
              <a:chOff x="5351600" y="1479251"/>
              <a:chExt cx="4099082" cy="4321925"/>
            </a:xfrm>
          </p:grpSpPr>
          <p:pic>
            <p:nvPicPr>
              <p:cNvPr id="12" name="그림 11">
                <a:extLst>
                  <a:ext uri="{FF2B5EF4-FFF2-40B4-BE49-F238E27FC236}">
                    <a16:creationId xmlns:a16="http://schemas.microsoft.com/office/drawing/2014/main" xmlns="" id="{621B89FB-7A20-3F62-312D-AA5A1BBD1A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391014" y="1768790"/>
                <a:ext cx="4059668" cy="4032386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xmlns="" id="{E2621775-45C8-D1FA-A259-A86EA2E86F9E}"/>
                  </a:ext>
                </a:extLst>
              </p:cNvPr>
              <p:cNvSpPr txBox="1"/>
              <p:nvPr/>
            </p:nvSpPr>
            <p:spPr>
              <a:xfrm>
                <a:off x="5351600" y="1479251"/>
                <a:ext cx="1396216" cy="2000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altLang="ko-KR" sz="1300" b="1" dirty="0">
                    <a:latin typeface="Arial Narrow" panose="020B0606020202030204" pitchFamily="34" charset="0"/>
                    <a:ea typeface="LG스마트체 Regular" panose="020B0600000101010101" pitchFamily="50" charset="-127"/>
                    <a:cs typeface="Arial" pitchFamily="34" charset="0"/>
                  </a:rPr>
                  <a:t>HE</a:t>
                </a:r>
                <a:r>
                  <a:rPr lang="ko-KR" altLang="en-US" sz="1300" b="1">
                    <a:latin typeface="Arial Narrow" panose="020B0606020202030204" pitchFamily="34" charset="0"/>
                    <a:ea typeface="LG스마트체 Regular" panose="020B0600000101010101" pitchFamily="50" charset="-127"/>
                    <a:cs typeface="Arial" pitchFamily="34" charset="0"/>
                  </a:rPr>
                  <a:t>본부 중점추진과제</a:t>
                </a:r>
              </a:p>
            </p:txBody>
          </p:sp>
          <p:sp>
            <p:nvSpPr>
              <p:cNvPr id="14" name="사각형: 둥근 모서리 118">
                <a:extLst>
                  <a:ext uri="{FF2B5EF4-FFF2-40B4-BE49-F238E27FC236}">
                    <a16:creationId xmlns:a16="http://schemas.microsoft.com/office/drawing/2014/main" xmlns="" id="{6B61566C-A4AC-E5F4-B9FB-E41FF5CB100D}"/>
                  </a:ext>
                </a:extLst>
              </p:cNvPr>
              <p:cNvSpPr/>
              <p:nvPr/>
            </p:nvSpPr>
            <p:spPr>
              <a:xfrm>
                <a:off x="6798394" y="4659635"/>
                <a:ext cx="2066994" cy="305385"/>
              </a:xfrm>
              <a:prstGeom prst="roundRect">
                <a:avLst>
                  <a:gd name="adj" fmla="val 3598"/>
                </a:avLst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pic>
          <p:nvPicPr>
            <p:cNvPr id="17" name="그림 16">
              <a:extLst>
                <a:ext uri="{FF2B5EF4-FFF2-40B4-BE49-F238E27FC236}">
                  <a16:creationId xmlns:a16="http://schemas.microsoft.com/office/drawing/2014/main" xmlns="" id="{E474BAAC-CE23-21B0-4249-3F26D1638E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2481" y="1823589"/>
              <a:ext cx="5166622" cy="3031297"/>
            </a:xfrm>
            <a:prstGeom prst="rect">
              <a:avLst/>
            </a:prstGeom>
          </p:spPr>
        </p:pic>
        <p:sp>
          <p:nvSpPr>
            <p:cNvPr id="18" name="사각형: 둥근 모서리 102">
              <a:extLst>
                <a:ext uri="{FF2B5EF4-FFF2-40B4-BE49-F238E27FC236}">
                  <a16:creationId xmlns:a16="http://schemas.microsoft.com/office/drawing/2014/main" xmlns="" id="{F645AE00-DAAD-2BD7-324D-F77BCC2AB1F7}"/>
                </a:ext>
              </a:extLst>
            </p:cNvPr>
            <p:cNvSpPr/>
            <p:nvPr/>
          </p:nvSpPr>
          <p:spPr>
            <a:xfrm>
              <a:off x="3394599" y="3749626"/>
              <a:ext cx="223587" cy="664247"/>
            </a:xfrm>
            <a:prstGeom prst="roundRect">
              <a:avLst>
                <a:gd name="adj" fmla="val 3598"/>
              </a:avLst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9" name="Text Box 57">
            <a:extLst>
              <a:ext uri="{FF2B5EF4-FFF2-40B4-BE49-F238E27FC236}">
                <a16:creationId xmlns:a16="http://schemas.microsoft.com/office/drawing/2014/main" xmlns="" id="{9C263224-92CF-2F03-C781-0661956775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621" y="652762"/>
            <a:ext cx="9662220" cy="1406805"/>
          </a:xfrm>
          <a:prstGeom prst="rect">
            <a:avLst/>
          </a:prstGeom>
          <a:noFill/>
          <a:ln>
            <a:noFill/>
          </a:ln>
        </p:spPr>
        <p:txBody>
          <a:bodyPr wrap="square" lIns="10800" tIns="10800" rIns="10800" bIns="10800" anchor="t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en-US" altLang="ko-KR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HE</a:t>
            </a:r>
            <a:r>
              <a:rPr lang="ko-KR" altLang="en-US" sz="1800" b="1" smtClean="0">
                <a:solidFill>
                  <a:schemeClr val="tx1"/>
                </a:solidFill>
                <a:latin typeface="Arial Narrow"/>
                <a:ea typeface="LG스마트체 Regular"/>
              </a:rPr>
              <a:t>연구소</a:t>
            </a:r>
            <a:endParaRPr lang="en-US" altLang="ko-KR" sz="1800" b="1" dirty="0" smtClean="0">
              <a:solidFill>
                <a:schemeClr val="tx1"/>
              </a:solidFill>
              <a:latin typeface="Arial Narrow"/>
              <a:ea typeface="LG스마트체 Regular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en-US" altLang="ko-KR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 </a:t>
            </a:r>
            <a:r>
              <a:rPr lang="ko-KR" altLang="en-US" sz="1800" b="1" smtClean="0">
                <a:solidFill>
                  <a:schemeClr val="tx1"/>
                </a:solidFill>
                <a:latin typeface="Arial Narrow"/>
                <a:ea typeface="LG스마트체 Regular"/>
              </a:rPr>
              <a:t> </a:t>
            </a:r>
            <a:r>
              <a:rPr lang="en-US" altLang="ko-KR" sz="18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: </a:t>
            </a:r>
            <a:r>
              <a:rPr lang="ko-KR" altLang="en-US" sz="1800" b="1" smtClean="0">
                <a:solidFill>
                  <a:schemeClr val="tx1"/>
                </a:solidFill>
                <a:latin typeface="Arial Narrow"/>
                <a:ea typeface="LG스마트체 Regular"/>
              </a:rPr>
              <a:t>고객 가치 데이터와 피드백 데이터를 </a:t>
            </a:r>
            <a:r>
              <a:rPr lang="ko-KR" altLang="en-US" sz="1800" b="1">
                <a:solidFill>
                  <a:schemeClr val="tx1"/>
                </a:solidFill>
                <a:latin typeface="Arial Narrow"/>
                <a:ea typeface="LG스마트체 Regular"/>
              </a:rPr>
              <a:t>연결하여 </a:t>
            </a:r>
            <a:r>
              <a:rPr lang="ko-KR" altLang="en-US" sz="1800" b="1" smtClean="0">
                <a:solidFill>
                  <a:schemeClr val="tx1"/>
                </a:solidFill>
                <a:latin typeface="Arial Narrow"/>
                <a:ea typeface="LG스마트체 Regular"/>
              </a:rPr>
              <a:t>고객 경험 가치를 </a:t>
            </a:r>
            <a:r>
              <a:rPr lang="ko-KR" altLang="en-US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빠르게 </a:t>
            </a:r>
            <a:r>
              <a:rPr lang="ko-KR" altLang="en-US" sz="1800" b="1">
                <a:solidFill>
                  <a:schemeClr val="tx1"/>
                </a:solidFill>
                <a:latin typeface="Arial Narrow"/>
                <a:ea typeface="LG스마트체 Regular"/>
              </a:rPr>
              <a:t>발굴하고 </a:t>
            </a:r>
            <a:r>
              <a:rPr lang="ko-KR" altLang="en-US" sz="1800" b="1" smtClean="0">
                <a:solidFill>
                  <a:schemeClr val="tx1"/>
                </a:solidFill>
                <a:latin typeface="Arial Narrow"/>
                <a:ea typeface="LG스마트체 Regular"/>
              </a:rPr>
              <a:t>제공하기 위해 </a:t>
            </a:r>
            <a:endParaRPr lang="en-US" altLang="ko-KR" sz="1800" b="1" dirty="0" smtClean="0">
              <a:solidFill>
                <a:schemeClr val="tx1"/>
              </a:solidFill>
              <a:latin typeface="Arial Narrow"/>
              <a:ea typeface="LG스마트체 Regular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en-US" altLang="ko-KR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 </a:t>
            </a:r>
            <a:r>
              <a:rPr lang="en-US" altLang="ko-KR" sz="18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   DEJ</a:t>
            </a:r>
            <a:r>
              <a:rPr lang="ko-KR" altLang="en-US" sz="1800" b="1">
                <a:solidFill>
                  <a:schemeClr val="tx1"/>
                </a:solidFill>
                <a:latin typeface="Arial Narrow"/>
                <a:ea typeface="LG스마트체 Regular"/>
              </a:rPr>
              <a:t>라는 </a:t>
            </a:r>
            <a:r>
              <a:rPr lang="ko-KR" altLang="en-US" sz="1800" b="1" smtClean="0">
                <a:solidFill>
                  <a:schemeClr val="tx1"/>
                </a:solidFill>
                <a:latin typeface="Arial Narrow"/>
                <a:ea typeface="LG스마트체 Regular"/>
              </a:rPr>
              <a:t>본부개발플랫폼을 </a:t>
            </a:r>
            <a:r>
              <a:rPr lang="ko-KR" altLang="en-US" sz="18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구축하여 </a:t>
            </a:r>
            <a:r>
              <a:rPr lang="en-US" altLang="ko-KR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HE</a:t>
            </a:r>
            <a:r>
              <a:rPr lang="ko-KR" altLang="en-US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본부 과제 </a:t>
            </a:r>
            <a:r>
              <a:rPr lang="en-US" altLang="ko-KR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DX</a:t>
            </a:r>
            <a:r>
              <a:rPr lang="ko-KR" altLang="en-US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를 </a:t>
            </a:r>
            <a:r>
              <a:rPr lang="ko-KR" altLang="en-US" sz="1800" b="1">
                <a:solidFill>
                  <a:schemeClr val="tx1"/>
                </a:solidFill>
                <a:latin typeface="Arial Narrow"/>
                <a:ea typeface="LG스마트체 Regular"/>
              </a:rPr>
              <a:t>통한 </a:t>
            </a:r>
            <a:r>
              <a:rPr lang="ko-KR" altLang="en-US" sz="1800" b="1" smtClean="0">
                <a:solidFill>
                  <a:schemeClr val="tx1"/>
                </a:solidFill>
                <a:latin typeface="Arial Narrow"/>
                <a:ea typeface="LG스마트체 Regular"/>
              </a:rPr>
              <a:t>고객경험혁신을 추진중임</a:t>
            </a:r>
            <a:r>
              <a:rPr lang="en-US" altLang="ko-KR" sz="18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.</a:t>
            </a:r>
          </a:p>
          <a:p>
            <a:pPr eaLnBrk="1" hangingPunct="1">
              <a:spcBef>
                <a:spcPct val="0"/>
              </a:spcBef>
              <a:buNone/>
            </a:pPr>
            <a:endParaRPr lang="en-US" altLang="ko-KR" sz="1800" b="1" dirty="0" smtClean="0">
              <a:solidFill>
                <a:schemeClr val="tx1"/>
              </a:solidFill>
              <a:latin typeface="Arial Narrow"/>
              <a:ea typeface="LG스마트체 Regular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en-US" altLang="ko-KR" sz="1800" b="1" dirty="0">
                <a:solidFill>
                  <a:schemeClr val="tx1"/>
                </a:solidFill>
                <a:latin typeface="Arial Narrow"/>
                <a:ea typeface="LG스마트체 Regular"/>
              </a:rPr>
              <a:t> </a:t>
            </a:r>
            <a:endParaRPr lang="ko-KR" altLang="en-US" sz="1800" b="1" dirty="0">
              <a:solidFill>
                <a:schemeClr val="tx1"/>
              </a:solidFill>
              <a:latin typeface="Arial Narrow"/>
              <a:ea typeface="LG스마트체 Regular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992560" y="1509080"/>
            <a:ext cx="90787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b="1" dirty="0" smtClean="0">
                <a:solidFill>
                  <a:srgbClr val="FF0000"/>
                </a:solidFill>
                <a:latin typeface="Arial Narrow"/>
                <a:ea typeface="LG스마트체 Regular"/>
              </a:rPr>
              <a:t>LG</a:t>
            </a:r>
            <a:r>
              <a:rPr lang="ko-KR" altLang="en-US" b="1" smtClean="0">
                <a:solidFill>
                  <a:srgbClr val="FF0000"/>
                </a:solidFill>
                <a:latin typeface="Arial Narrow"/>
                <a:ea typeface="LG스마트체 Regular"/>
              </a:rPr>
              <a:t>전자 협력업체인 </a:t>
            </a:r>
            <a:r>
              <a:rPr lang="en-US" altLang="ko-KR" b="1" dirty="0">
                <a:solidFill>
                  <a:srgbClr val="FF0000"/>
                </a:solidFill>
                <a:latin typeface="Arial Narrow"/>
                <a:ea typeface="LG스마트체 Regular"/>
              </a:rPr>
              <a:t>BM</a:t>
            </a:r>
            <a:r>
              <a:rPr lang="ko-KR" altLang="en-US" b="1" smtClean="0">
                <a:solidFill>
                  <a:srgbClr val="FF0000"/>
                </a:solidFill>
                <a:latin typeface="Arial Narrow"/>
                <a:ea typeface="LG스마트체 Regular"/>
              </a:rPr>
              <a:t>사와 협업을 통한 </a:t>
            </a:r>
            <a:r>
              <a:rPr lang="en-US" altLang="ko-KR" b="1" dirty="0" smtClean="0">
                <a:solidFill>
                  <a:srgbClr val="FF0000"/>
                </a:solidFill>
                <a:latin typeface="Arial Narrow"/>
                <a:ea typeface="LG스마트체 Regular"/>
              </a:rPr>
              <a:t>DX </a:t>
            </a:r>
            <a:r>
              <a:rPr lang="ko-KR" altLang="en-US" b="1" smtClean="0">
                <a:solidFill>
                  <a:srgbClr val="FF0000"/>
                </a:solidFill>
                <a:latin typeface="Arial Narrow"/>
                <a:ea typeface="LG스마트체 Regular"/>
              </a:rPr>
              <a:t>활동 확대</a:t>
            </a:r>
            <a:r>
              <a:rPr lang="ko-KR" altLang="en-US" b="1" smtClean="0">
                <a:latin typeface="Arial Narrow"/>
                <a:ea typeface="LG스마트체 Regular"/>
              </a:rPr>
              <a:t>로</a:t>
            </a:r>
            <a:endParaRPr lang="en-US" altLang="ko-KR" b="1" dirty="0" smtClean="0">
              <a:latin typeface="Arial Narrow"/>
              <a:ea typeface="LG스마트체 Regular"/>
            </a:endParaRPr>
          </a:p>
          <a:p>
            <a:r>
              <a:rPr lang="en-US" altLang="ko-KR" b="1" dirty="0" smtClean="0">
                <a:latin typeface="Arial Narrow"/>
                <a:ea typeface="LG스마트체 Regular"/>
              </a:rPr>
              <a:t>BM</a:t>
            </a:r>
            <a:r>
              <a:rPr lang="ko-KR" altLang="en-US" b="1" smtClean="0">
                <a:latin typeface="Arial Narrow"/>
                <a:ea typeface="LG스마트체 Regular"/>
              </a:rPr>
              <a:t>사의 작업자가 판정중인 양</a:t>
            </a:r>
            <a:r>
              <a:rPr lang="en-US" altLang="ko-KR" b="1" dirty="0" smtClean="0">
                <a:latin typeface="Arial Narrow"/>
                <a:ea typeface="LG스마트체 Regular"/>
              </a:rPr>
              <a:t>/</a:t>
            </a:r>
            <a:r>
              <a:rPr lang="ko-KR" altLang="en-US" b="1" smtClean="0">
                <a:latin typeface="Arial Narrow"/>
                <a:ea typeface="LG스마트체 Regular"/>
              </a:rPr>
              <a:t>불 판별 </a:t>
            </a:r>
            <a:r>
              <a:rPr lang="ko-KR" altLang="en-US" b="1" dirty="0">
                <a:latin typeface="Arial Narrow"/>
                <a:ea typeface="LG스마트체 Regular"/>
              </a:rPr>
              <a:t>판별 작업을 자동화하여 </a:t>
            </a:r>
            <a:r>
              <a:rPr lang="en-US" altLang="ko-KR" b="1" dirty="0">
                <a:latin typeface="Arial Narrow"/>
                <a:ea typeface="LG스마트체 Regular"/>
              </a:rPr>
              <a:t>DX </a:t>
            </a:r>
            <a:r>
              <a:rPr lang="ko-KR" altLang="en-US" b="1">
                <a:latin typeface="Arial Narrow"/>
                <a:ea typeface="LG스마트체 Regular"/>
              </a:rPr>
              <a:t>시스템 확대에 기여하고자 함</a:t>
            </a:r>
            <a:endParaRPr lang="ko-KR" altLang="en-US" b="1" dirty="0">
              <a:latin typeface="Arial Narrow"/>
              <a:ea typeface="LG스마트체 Regular"/>
            </a:endParaRPr>
          </a:p>
        </p:txBody>
      </p:sp>
      <p:sp>
        <p:nvSpPr>
          <p:cNvPr id="5" name="오른쪽 화살표 4"/>
          <p:cNvSpPr/>
          <p:nvPr/>
        </p:nvSpPr>
        <p:spPr>
          <a:xfrm>
            <a:off x="375189" y="1649544"/>
            <a:ext cx="576064" cy="400516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82062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378" y="1084714"/>
            <a:ext cx="8468171" cy="4601268"/>
          </a:xfrm>
          <a:prstGeom prst="rect">
            <a:avLst/>
          </a:prstGeom>
        </p:spPr>
      </p:pic>
      <p:sp>
        <p:nvSpPr>
          <p:cNvPr id="3" name="직사각형 2"/>
          <p:cNvSpPr/>
          <p:nvPr/>
        </p:nvSpPr>
        <p:spPr>
          <a:xfrm>
            <a:off x="6252635" y="4657716"/>
            <a:ext cx="1512168" cy="57606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/>
          <p:cNvSpPr txBox="1"/>
          <p:nvPr/>
        </p:nvSpPr>
        <p:spPr>
          <a:xfrm>
            <a:off x="2772377" y="5799123"/>
            <a:ext cx="5271571" cy="298810"/>
          </a:xfrm>
          <a:prstGeom prst="rect">
            <a:avLst/>
          </a:prstGeom>
          <a:noFill/>
          <a:ln>
            <a:noFill/>
          </a:ln>
        </p:spPr>
        <p:txBody>
          <a:bodyPr wrap="square" lIns="10800" tIns="10800" rIns="10800" bIns="10800" anchor="t">
            <a:spAutoFit/>
          </a:bodyPr>
          <a:lstStyle>
            <a:defPPr>
              <a:defRPr lang="ko-KR"/>
            </a:defPPr>
            <a:lvl1pPr eaLnBrk="1" hangingPunct="1">
              <a:buNone/>
              <a:defRPr sz="1800" b="1">
                <a:latin typeface="Arial Narrow"/>
                <a:ea typeface="LG스마트체 Regular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r>
              <a:rPr lang="en-US" altLang="ko-KR" dirty="0"/>
              <a:t>2023</a:t>
            </a:r>
            <a:r>
              <a:rPr lang="ko-KR" altLang="en-US" dirty="0"/>
              <a:t>년 본부 </a:t>
            </a:r>
            <a:r>
              <a:rPr lang="en-US" altLang="ko-KR" dirty="0"/>
              <a:t>Top10 </a:t>
            </a:r>
            <a:r>
              <a:rPr lang="ko-KR" altLang="en-US" dirty="0"/>
              <a:t>과제에 </a:t>
            </a:r>
            <a:r>
              <a:rPr lang="en-US" altLang="ko-KR" dirty="0">
                <a:solidFill>
                  <a:srgbClr val="FF0000"/>
                </a:solidFill>
              </a:rPr>
              <a:t>DX</a:t>
            </a:r>
            <a:r>
              <a:rPr lang="ko-KR" altLang="en-US" dirty="0">
                <a:solidFill>
                  <a:srgbClr val="FF0000"/>
                </a:solidFill>
              </a:rPr>
              <a:t>를 통한 고객경험 혁신 </a:t>
            </a:r>
            <a:r>
              <a:rPr lang="ko-KR" altLang="en-US" dirty="0"/>
              <a:t>포함</a:t>
            </a:r>
            <a:endParaRPr lang="en-US" altLang="ko-KR" dirty="0"/>
          </a:p>
        </p:txBody>
      </p:sp>
      <p:sp>
        <p:nvSpPr>
          <p:cNvPr id="59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4300857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2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실행 과제 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Impact_</a:t>
            </a:r>
            <a:r>
              <a:rPr lang="ko-KR" altLang="en-US" sz="16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조직전략과의 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연관성</a:t>
            </a:r>
            <a:endParaRPr lang="ko-KR" altLang="en-US" sz="16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Text Box 57">
            <a:extLst>
              <a:ext uri="{FF2B5EF4-FFF2-40B4-BE49-F238E27FC236}">
                <a16:creationId xmlns:a16="http://schemas.microsoft.com/office/drawing/2014/main" xmlns="" id="{9C263224-92CF-2F03-C781-0661956775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621" y="652762"/>
            <a:ext cx="9662220" cy="298810"/>
          </a:xfrm>
          <a:prstGeom prst="rect">
            <a:avLst/>
          </a:prstGeom>
          <a:noFill/>
          <a:ln>
            <a:noFill/>
          </a:ln>
        </p:spPr>
        <p:txBody>
          <a:bodyPr wrap="square" lIns="10800" tIns="10800" rIns="10800" bIns="10800" anchor="t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en-US" altLang="ko-KR" sz="18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2023</a:t>
            </a:r>
            <a:r>
              <a:rPr lang="ko-KR" altLang="en-US" sz="1800" b="1" smtClean="0">
                <a:solidFill>
                  <a:schemeClr val="tx1"/>
                </a:solidFill>
                <a:latin typeface="Arial Narrow"/>
                <a:ea typeface="LG스마트체 Regular"/>
              </a:rPr>
              <a:t>년 </a:t>
            </a:r>
            <a:r>
              <a:rPr lang="en-US" altLang="ko-KR" sz="18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HE</a:t>
            </a:r>
            <a:r>
              <a:rPr lang="ko-KR" altLang="en-US" sz="1800" b="1" smtClean="0">
                <a:solidFill>
                  <a:schemeClr val="tx1"/>
                </a:solidFill>
                <a:latin typeface="Arial Narrow"/>
                <a:ea typeface="LG스마트체 Regular"/>
              </a:rPr>
              <a:t>본부 </a:t>
            </a:r>
            <a:r>
              <a:rPr lang="en-US" altLang="ko-KR" sz="18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Top 10 </a:t>
            </a:r>
            <a:r>
              <a:rPr lang="ko-KR" altLang="en-US" sz="1800" b="1" smtClean="0">
                <a:solidFill>
                  <a:schemeClr val="tx1"/>
                </a:solidFill>
                <a:latin typeface="Arial Narrow"/>
                <a:ea typeface="LG스마트체 Regular"/>
              </a:rPr>
              <a:t>과제 중 </a:t>
            </a:r>
            <a:r>
              <a:rPr lang="en-US" altLang="ko-KR" sz="1800" b="1" dirty="0" smtClean="0">
                <a:solidFill>
                  <a:srgbClr val="FF0000"/>
                </a:solidFill>
                <a:latin typeface="Arial Narrow"/>
                <a:ea typeface="LG스마트체 Regular"/>
              </a:rPr>
              <a:t>DX</a:t>
            </a:r>
            <a:r>
              <a:rPr lang="ko-KR" altLang="en-US" sz="1800" b="1" smtClean="0">
                <a:solidFill>
                  <a:srgbClr val="FF0000"/>
                </a:solidFill>
                <a:latin typeface="Arial Narrow"/>
                <a:ea typeface="LG스마트체 Regular"/>
              </a:rPr>
              <a:t>를 통한 고객 경험 혁신과 연계</a:t>
            </a:r>
            <a:r>
              <a:rPr lang="ko-KR" altLang="en-US" sz="1800" b="1" smtClean="0">
                <a:solidFill>
                  <a:schemeClr val="tx1"/>
                </a:solidFill>
                <a:latin typeface="Arial Narrow"/>
                <a:ea typeface="LG스마트체 Regular"/>
              </a:rPr>
              <a:t>하여 과제 추진 </a:t>
            </a:r>
            <a:endParaRPr lang="ko-KR" altLang="en-US" sz="1800" b="1" dirty="0">
              <a:solidFill>
                <a:schemeClr val="tx1"/>
              </a:solidFill>
              <a:latin typeface="Arial Narrow"/>
              <a:ea typeface="LG스마트체 Regular"/>
            </a:endParaRPr>
          </a:p>
        </p:txBody>
      </p:sp>
      <p:cxnSp>
        <p:nvCxnSpPr>
          <p:cNvPr id="4" name="꺾인 연결선 3"/>
          <p:cNvCxnSpPr>
            <a:stCxn id="3" idx="1"/>
            <a:endCxn id="7" idx="0"/>
          </p:cNvCxnSpPr>
          <p:nvPr/>
        </p:nvCxnSpPr>
        <p:spPr>
          <a:xfrm rot="10800000" flipV="1">
            <a:off x="5408163" y="4945747"/>
            <a:ext cx="844472" cy="853375"/>
          </a:xfrm>
          <a:prstGeom prst="bentConnector2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Box 57">
            <a:extLst>
              <a:ext uri="{FF2B5EF4-FFF2-40B4-BE49-F238E27FC236}">
                <a16:creationId xmlns:a16="http://schemas.microsoft.com/office/drawing/2014/main" xmlns="" id="{9C263224-92CF-2F03-C781-0661956775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30228" y="6154928"/>
            <a:ext cx="2799827" cy="391143"/>
          </a:xfrm>
          <a:prstGeom prst="rect">
            <a:avLst/>
          </a:prstGeom>
          <a:noFill/>
          <a:ln>
            <a:noFill/>
          </a:ln>
        </p:spPr>
        <p:txBody>
          <a:bodyPr wrap="square" lIns="10800" tIns="10800" rIns="10800" bIns="10800" anchor="t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en-US" altLang="ko-KR" sz="12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※ DX </a:t>
            </a:r>
            <a:r>
              <a:rPr lang="ko-KR" altLang="en-US" sz="1200" b="1" smtClean="0">
                <a:solidFill>
                  <a:schemeClr val="tx1"/>
                </a:solidFill>
                <a:latin typeface="Arial Narrow"/>
                <a:ea typeface="LG스마트체 Regular"/>
              </a:rPr>
              <a:t>역량 강화 및 문화 확산</a:t>
            </a:r>
            <a:endParaRPr lang="en-US" altLang="ko-KR" sz="1200" b="1" dirty="0" smtClean="0">
              <a:solidFill>
                <a:schemeClr val="tx1"/>
              </a:solidFill>
              <a:latin typeface="Arial Narrow"/>
              <a:ea typeface="LG스마트체 Regular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en-US" altLang="ko-KR" sz="12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   </a:t>
            </a:r>
            <a:r>
              <a:rPr lang="ko-KR" altLang="en-US" sz="1200" b="1" smtClean="0">
                <a:solidFill>
                  <a:schemeClr val="tx1"/>
                </a:solidFill>
                <a:latin typeface="Arial Narrow"/>
                <a:ea typeface="LG스마트체 Regular"/>
              </a:rPr>
              <a:t>→ </a:t>
            </a:r>
            <a:r>
              <a:rPr lang="en-US" altLang="ko-KR" sz="12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BM</a:t>
            </a:r>
            <a:r>
              <a:rPr lang="ko-KR" altLang="en-US" sz="1200" b="1" smtClean="0">
                <a:solidFill>
                  <a:schemeClr val="tx1"/>
                </a:solidFill>
                <a:latin typeface="Arial Narrow"/>
                <a:ea typeface="LG스마트체 Regular"/>
              </a:rPr>
              <a:t>사</a:t>
            </a:r>
            <a:r>
              <a:rPr lang="en-US" altLang="ko-KR" sz="12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(</a:t>
            </a:r>
            <a:r>
              <a:rPr lang="ko-KR" altLang="en-US" sz="1200" b="1" smtClean="0">
                <a:solidFill>
                  <a:schemeClr val="tx1"/>
                </a:solidFill>
                <a:latin typeface="Arial Narrow"/>
                <a:ea typeface="LG스마트체 Regular"/>
              </a:rPr>
              <a:t>협력업체</a:t>
            </a:r>
            <a:r>
              <a:rPr lang="en-US" altLang="ko-KR" sz="12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) </a:t>
            </a:r>
            <a:r>
              <a:rPr lang="ko-KR" altLang="en-US" sz="1200" b="1" smtClean="0">
                <a:solidFill>
                  <a:schemeClr val="tx1"/>
                </a:solidFill>
                <a:latin typeface="Arial Narrow"/>
                <a:ea typeface="LG스마트체 Regular"/>
              </a:rPr>
              <a:t>로의 </a:t>
            </a:r>
            <a:r>
              <a:rPr lang="en-US" altLang="ko-KR" sz="1200" b="1" dirty="0" smtClean="0">
                <a:solidFill>
                  <a:schemeClr val="tx1"/>
                </a:solidFill>
                <a:latin typeface="Arial Narrow"/>
                <a:ea typeface="LG스마트체 Regular"/>
              </a:rPr>
              <a:t>DX </a:t>
            </a:r>
            <a:r>
              <a:rPr lang="ko-KR" altLang="en-US" sz="1200" b="1" smtClean="0">
                <a:solidFill>
                  <a:schemeClr val="tx1"/>
                </a:solidFill>
                <a:latin typeface="Arial Narrow"/>
                <a:ea typeface="LG스마트체 Regular"/>
              </a:rPr>
              <a:t>활동 확대 추진</a:t>
            </a:r>
            <a:endParaRPr lang="ko-KR" altLang="en-US" sz="1200" b="1" dirty="0">
              <a:solidFill>
                <a:schemeClr val="tx1"/>
              </a:solidFill>
              <a:latin typeface="Arial Narrow"/>
              <a:ea typeface="LG스마트체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97916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Box 57"/>
          <p:cNvSpPr txBox="1">
            <a:spLocks noChangeArrowheads="1"/>
          </p:cNvSpPr>
          <p:nvPr/>
        </p:nvSpPr>
        <p:spPr bwMode="auto">
          <a:xfrm>
            <a:off x="1705124" y="1826522"/>
            <a:ext cx="2115367" cy="339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600" b="1" u="sng" dirty="0" smtClean="0">
                <a:latin typeface="LG스마트체 Regular" pitchFamily="50" charset="-127"/>
                <a:ea typeface="LG스마트체 Regular" pitchFamily="50" charset="-127"/>
              </a:rPr>
              <a:t>KPI /sub-KPI </a:t>
            </a:r>
            <a:r>
              <a:rPr lang="ko-KR" altLang="en-US" sz="1600" b="1" u="sng" smtClean="0">
                <a:latin typeface="LG스마트체 Regular" pitchFamily="50" charset="-127"/>
                <a:ea typeface="LG스마트체 Regular" pitchFamily="50" charset="-127"/>
              </a:rPr>
              <a:t>선정 배경</a:t>
            </a:r>
            <a:endParaRPr lang="ko-KR" altLang="en-US" sz="1600" b="1" u="sng" dirty="0" smtClean="0"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60" name="이등변 삼각형 59"/>
          <p:cNvSpPr/>
          <p:nvPr/>
        </p:nvSpPr>
        <p:spPr>
          <a:xfrm rot="5400000">
            <a:off x="3338396" y="3244588"/>
            <a:ext cx="1892876" cy="245477"/>
          </a:xfrm>
          <a:prstGeom prst="triangle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1" name="Text Box 57"/>
          <p:cNvSpPr txBox="1">
            <a:spLocks noChangeArrowheads="1"/>
          </p:cNvSpPr>
          <p:nvPr/>
        </p:nvSpPr>
        <p:spPr bwMode="auto">
          <a:xfrm>
            <a:off x="1491917" y="2338870"/>
            <a:ext cx="2541780" cy="219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>
              <a:lnSpc>
                <a:spcPct val="130000"/>
              </a:lnSpc>
              <a:spcBef>
                <a:spcPct val="0"/>
              </a:spcBef>
              <a:buNone/>
            </a:pP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200" dirty="0">
                <a:solidFill>
                  <a:schemeClr val="tx1"/>
                </a:solidFill>
                <a:latin typeface="Arial Narrow"/>
                <a:ea typeface="LG스마트체 Regular"/>
              </a:rPr>
              <a:t>① 자동화된 검출 시스템이 도입되면 </a:t>
            </a:r>
            <a:r>
              <a:rPr lang="en-US" altLang="ko-KR" sz="1200" dirty="0">
                <a:solidFill>
                  <a:schemeClr val="tx1"/>
                </a:solidFill>
                <a:latin typeface="Arial Narrow"/>
                <a:ea typeface="LG스마트체 Regular"/>
              </a:rPr>
              <a:t>BM</a:t>
            </a:r>
            <a:r>
              <a:rPr lang="ko-KR" altLang="en-US" sz="1200">
                <a:solidFill>
                  <a:schemeClr val="tx1"/>
                </a:solidFill>
                <a:latin typeface="Arial Narrow"/>
                <a:ea typeface="LG스마트체 Regular"/>
              </a:rPr>
              <a:t>사의 판정 인원을 완전히 </a:t>
            </a:r>
            <a:r>
              <a:rPr lang="ko-KR" altLang="en-US" sz="1200" dirty="0">
                <a:solidFill>
                  <a:schemeClr val="tx1"/>
                </a:solidFill>
                <a:latin typeface="Arial Narrow"/>
                <a:ea typeface="LG스마트체 Regular"/>
              </a:rPr>
              <a:t>대체할 수 있을 것이고</a:t>
            </a:r>
            <a:r>
              <a:rPr lang="en-US" altLang="ko-KR" sz="1200" dirty="0">
                <a:solidFill>
                  <a:schemeClr val="tx1"/>
                </a:solidFill>
                <a:latin typeface="Arial Narrow"/>
                <a:ea typeface="LG스마트체 Regular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Arial Narrow"/>
                <a:ea typeface="LG스마트체 Regular"/>
              </a:rPr>
              <a:t>기존 작업자의 감축으로 이어질 것이라 판단하여 </a:t>
            </a:r>
            <a:r>
              <a:rPr lang="en-US" altLang="ko-KR" sz="1200" dirty="0">
                <a:solidFill>
                  <a:schemeClr val="tx1"/>
                </a:solidFill>
                <a:latin typeface="Arial Narrow"/>
                <a:ea typeface="LG스마트체 Regular"/>
              </a:rPr>
              <a:t>BM</a:t>
            </a:r>
            <a:r>
              <a:rPr lang="ko-KR" altLang="en-US" sz="1200" dirty="0">
                <a:solidFill>
                  <a:schemeClr val="tx1"/>
                </a:solidFill>
                <a:latin typeface="Arial Narrow"/>
                <a:ea typeface="LG스마트체 Regular"/>
              </a:rPr>
              <a:t>사의 작업 인원 감축을 </a:t>
            </a:r>
            <a:r>
              <a:rPr lang="en-US" altLang="ko-KR" sz="1200" dirty="0">
                <a:solidFill>
                  <a:schemeClr val="tx1"/>
                </a:solidFill>
                <a:latin typeface="Arial Narrow"/>
                <a:ea typeface="LG스마트체 Regular"/>
              </a:rPr>
              <a:t>KPI</a:t>
            </a:r>
            <a:r>
              <a:rPr lang="ko-KR" altLang="en-US" sz="1200">
                <a:solidFill>
                  <a:schemeClr val="tx1"/>
                </a:solidFill>
                <a:latin typeface="Arial Narrow"/>
                <a:ea typeface="LG스마트체 Regular"/>
              </a:rPr>
              <a:t>로 선정함</a:t>
            </a:r>
            <a:r>
              <a:rPr lang="en-US" altLang="ko-KR" sz="1200" dirty="0">
                <a:solidFill>
                  <a:schemeClr val="tx1"/>
                </a:solidFill>
                <a:latin typeface="Arial Narrow"/>
                <a:ea typeface="LG스마트체 Regular"/>
              </a:rPr>
              <a:t>.</a:t>
            </a:r>
          </a:p>
          <a:p>
            <a:pPr eaLnBrk="1" hangingPunct="1">
              <a:spcBef>
                <a:spcPct val="0"/>
              </a:spcBef>
              <a:buNone/>
            </a:pPr>
            <a:endParaRPr lang="en-US" altLang="ko-KR" sz="1200" dirty="0">
              <a:solidFill>
                <a:schemeClr val="tx1"/>
              </a:solidFill>
              <a:latin typeface="Arial Narrow"/>
              <a:ea typeface="LG스마트체 Regular"/>
            </a:endParaRPr>
          </a:p>
          <a:p>
            <a:pPr>
              <a:lnSpc>
                <a:spcPct val="130000"/>
              </a:lnSpc>
              <a:spcBef>
                <a:spcPct val="0"/>
              </a:spcBef>
              <a:buNone/>
            </a:pPr>
            <a:r>
              <a:rPr lang="ko-KR" altLang="en-US" sz="1200" dirty="0">
                <a:solidFill>
                  <a:schemeClr val="tx1"/>
                </a:solidFill>
                <a:latin typeface="Arial Narrow"/>
                <a:ea typeface="LG스마트체 Regular"/>
              </a:rPr>
              <a:t>  ② 불량 판정의 가장 중요한 평가 요소는 정확도와 시간이기에 판정 정확도와 시간을 </a:t>
            </a:r>
            <a:r>
              <a:rPr lang="en-US" altLang="ko-KR" sz="1200" dirty="0">
                <a:solidFill>
                  <a:schemeClr val="tx1"/>
                </a:solidFill>
                <a:latin typeface="Arial Narrow"/>
                <a:ea typeface="LG스마트체 Regular"/>
              </a:rPr>
              <a:t>Sub-KPI</a:t>
            </a:r>
            <a:r>
              <a:rPr lang="ko-KR" altLang="en-US" sz="1200" dirty="0">
                <a:solidFill>
                  <a:schemeClr val="tx1"/>
                </a:solidFill>
                <a:latin typeface="Arial Narrow"/>
                <a:ea typeface="LG스마트체 Regular"/>
              </a:rPr>
              <a:t>로 설정함</a:t>
            </a:r>
            <a:endParaRPr lang="en-US" altLang="ko-KR" sz="1200" dirty="0">
              <a:solidFill>
                <a:schemeClr val="tx1"/>
              </a:solidFill>
              <a:latin typeface="Arial Narrow"/>
              <a:ea typeface="LG스마트체 Regular"/>
            </a:endParaRPr>
          </a:p>
        </p:txBody>
      </p:sp>
      <p:sp>
        <p:nvSpPr>
          <p:cNvPr id="62" name="Text Box 57"/>
          <p:cNvSpPr txBox="1">
            <a:spLocks noChangeArrowheads="1"/>
          </p:cNvSpPr>
          <p:nvPr/>
        </p:nvSpPr>
        <p:spPr bwMode="auto">
          <a:xfrm>
            <a:off x="4597271" y="1826522"/>
            <a:ext cx="2115367" cy="339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600" b="1" u="sng" dirty="0" smtClean="0">
                <a:latin typeface="LG스마트체 Regular" pitchFamily="50" charset="-127"/>
                <a:ea typeface="LG스마트체 Regular" pitchFamily="50" charset="-127"/>
              </a:rPr>
              <a:t>목표</a:t>
            </a:r>
          </a:p>
        </p:txBody>
      </p:sp>
      <p:sp>
        <p:nvSpPr>
          <p:cNvPr id="69" name="Text Box 57"/>
          <p:cNvSpPr txBox="1">
            <a:spLocks noChangeArrowheads="1"/>
          </p:cNvSpPr>
          <p:nvPr/>
        </p:nvSpPr>
        <p:spPr bwMode="auto">
          <a:xfrm>
            <a:off x="7335492" y="1826522"/>
            <a:ext cx="2115367" cy="339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600" b="1" u="sng" dirty="0" smtClean="0">
                <a:latin typeface="LG스마트체 Regular" pitchFamily="50" charset="-127"/>
                <a:ea typeface="LG스마트체 Regular" pitchFamily="50" charset="-127"/>
              </a:rPr>
              <a:t>목표 설정 근거</a:t>
            </a:r>
          </a:p>
        </p:txBody>
      </p:sp>
      <p:sp>
        <p:nvSpPr>
          <p:cNvPr id="70" name="Text Box 57"/>
          <p:cNvSpPr txBox="1">
            <a:spLocks noChangeArrowheads="1"/>
          </p:cNvSpPr>
          <p:nvPr/>
        </p:nvSpPr>
        <p:spPr bwMode="auto">
          <a:xfrm>
            <a:off x="4580941" y="2237458"/>
            <a:ext cx="241696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400" b="1" dirty="0" smtClean="0">
                <a:latin typeface="LG스마트체 Regular" pitchFamily="50" charset="-127"/>
                <a:ea typeface="LG스마트체 Regular" pitchFamily="50" charset="-127"/>
              </a:rPr>
              <a:t>KPI : </a:t>
            </a:r>
            <a:r>
              <a:rPr lang="ko-KR" altLang="en-US" sz="14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작업자 감축</a:t>
            </a:r>
            <a:endParaRPr lang="ko-KR" altLang="en-US" sz="14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79" name="Text Box 57"/>
          <p:cNvSpPr txBox="1">
            <a:spLocks noChangeArrowheads="1"/>
          </p:cNvSpPr>
          <p:nvPr/>
        </p:nvSpPr>
        <p:spPr bwMode="auto">
          <a:xfrm>
            <a:off x="4580941" y="3138842"/>
            <a:ext cx="2849015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altLang="ko-KR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Sub-KPI</a:t>
            </a:r>
          </a:p>
          <a:p>
            <a:pPr eaLnBrk="1" hangingPunct="1">
              <a:spcBef>
                <a:spcPct val="0"/>
              </a:spcBef>
              <a:buNone/>
            </a:pPr>
            <a:r>
              <a:rPr lang="en-US" altLang="ko-KR" sz="14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1)</a:t>
            </a:r>
            <a:r>
              <a:rPr lang="ko-KR" altLang="en-US" sz="14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불량 </a:t>
            </a:r>
            <a:r>
              <a:rPr lang="ko-KR" altLang="en-US" sz="14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판정 정확도</a:t>
            </a:r>
            <a:endParaRPr lang="en-US" altLang="ko-KR" sz="14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pPr eaLnBrk="1" hangingPunct="1">
              <a:spcBef>
                <a:spcPct val="0"/>
              </a:spcBef>
              <a:buNone/>
            </a:pPr>
            <a:endParaRPr lang="en-US" altLang="ko-KR" sz="14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pPr eaLnBrk="1" hangingPunct="1">
              <a:spcBef>
                <a:spcPct val="0"/>
              </a:spcBef>
              <a:buNone/>
            </a:pPr>
            <a:endParaRPr lang="en-US" altLang="ko-KR" sz="14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en-US" altLang="ko-KR" sz="14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2) </a:t>
            </a:r>
            <a:r>
              <a:rPr lang="ko-KR" altLang="en-US" sz="14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불량 판정 시간</a:t>
            </a:r>
            <a:endParaRPr lang="ko-KR" altLang="en-US" sz="14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506242" y="996589"/>
            <a:ext cx="846358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과제</a:t>
            </a:r>
            <a:endParaRPr lang="en-US" altLang="ko-KR" b="1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/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목적</a:t>
            </a:r>
            <a:endParaRPr lang="ko-KR" altLang="en-US" b="1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506242" y="2025870"/>
            <a:ext cx="846358" cy="259301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목표</a:t>
            </a:r>
            <a:endParaRPr lang="en-US" altLang="ko-KR" b="1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/>
            <a:r>
              <a:rPr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KPI</a:t>
            </a:r>
            <a:endParaRPr lang="ko-KR" altLang="en-US" b="1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506242" y="4941167"/>
            <a:ext cx="846358" cy="130197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정성적</a:t>
            </a:r>
            <a:r>
              <a:rPr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</a:p>
          <a:p>
            <a:pPr algn="ctr"/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목표</a:t>
            </a:r>
            <a:endParaRPr lang="ko-KR" altLang="en-US" b="1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2" name="Text Box 57"/>
          <p:cNvSpPr txBox="1">
            <a:spLocks noChangeArrowheads="1"/>
          </p:cNvSpPr>
          <p:nvPr/>
        </p:nvSpPr>
        <p:spPr bwMode="auto">
          <a:xfrm>
            <a:off x="1705124" y="4977702"/>
            <a:ext cx="2115367" cy="339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600" b="1" u="sng" dirty="0" smtClean="0">
                <a:latin typeface="LG스마트체 Regular" pitchFamily="50" charset="-127"/>
                <a:ea typeface="LG스마트체 Regular" pitchFamily="50" charset="-127"/>
              </a:rPr>
              <a:t>현황 이슈</a:t>
            </a:r>
          </a:p>
        </p:txBody>
      </p:sp>
      <p:sp>
        <p:nvSpPr>
          <p:cNvPr id="43" name="Text Box 57"/>
          <p:cNvSpPr txBox="1">
            <a:spLocks noChangeArrowheads="1"/>
          </p:cNvSpPr>
          <p:nvPr/>
        </p:nvSpPr>
        <p:spPr bwMode="auto">
          <a:xfrm>
            <a:off x="4535907" y="4977702"/>
            <a:ext cx="2115367" cy="339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600" b="1" u="sng" dirty="0" smtClean="0">
                <a:latin typeface="LG스마트체 Regular" pitchFamily="50" charset="-127"/>
                <a:ea typeface="LG스마트체 Regular" pitchFamily="50" charset="-127"/>
              </a:rPr>
              <a:t>정성적 목표</a:t>
            </a:r>
          </a:p>
        </p:txBody>
      </p:sp>
      <p:sp>
        <p:nvSpPr>
          <p:cNvPr id="44" name="Text Box 57"/>
          <p:cNvSpPr txBox="1">
            <a:spLocks noChangeArrowheads="1"/>
          </p:cNvSpPr>
          <p:nvPr/>
        </p:nvSpPr>
        <p:spPr bwMode="auto">
          <a:xfrm>
            <a:off x="7335492" y="4977702"/>
            <a:ext cx="2115367" cy="339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600" b="1" u="sng" dirty="0" smtClean="0">
                <a:latin typeface="LG스마트체 Regular" pitchFamily="50" charset="-127"/>
                <a:ea typeface="LG스마트체 Regular" pitchFamily="50" charset="-127"/>
              </a:rPr>
              <a:t>목표 설정 근거</a:t>
            </a:r>
          </a:p>
        </p:txBody>
      </p:sp>
      <p:cxnSp>
        <p:nvCxnSpPr>
          <p:cNvPr id="15" name="직선 연결선 14"/>
          <p:cNvCxnSpPr/>
          <p:nvPr/>
        </p:nvCxnSpPr>
        <p:spPr>
          <a:xfrm>
            <a:off x="1541489" y="1764481"/>
            <a:ext cx="8020023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연결선 46"/>
          <p:cNvCxnSpPr/>
          <p:nvPr/>
        </p:nvCxnSpPr>
        <p:spPr>
          <a:xfrm>
            <a:off x="1541489" y="4869160"/>
            <a:ext cx="8020023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Box 57"/>
          <p:cNvSpPr txBox="1">
            <a:spLocks noChangeArrowheads="1"/>
          </p:cNvSpPr>
          <p:nvPr/>
        </p:nvSpPr>
        <p:spPr bwMode="auto">
          <a:xfrm>
            <a:off x="7277476" y="2258288"/>
            <a:ext cx="226467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20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과제 수행 목표인 완전 자동화 시스템이 구축된다면 현재 판정작업을 진행하고 있는 인원을 완전히 대체할 수 있을 것이라 판단함</a:t>
            </a:r>
            <a:endParaRPr lang="ko-KR" altLang="en-US" sz="120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18904" y="5341201"/>
            <a:ext cx="228780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BM</a:t>
            </a:r>
            <a:r>
              <a:rPr lang="ko-KR" altLang="en-US" sz="12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사는 아직도 업무의 자동화</a:t>
            </a:r>
            <a:endParaRPr lang="en-US" altLang="ko-KR" sz="12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r>
              <a:rPr lang="ko-KR" altLang="en-US" sz="1200" dirty="0" err="1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도입률이</a:t>
            </a:r>
            <a:r>
              <a:rPr lang="ko-KR" altLang="en-US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낮고 조립 </a:t>
            </a:r>
            <a:r>
              <a:rPr lang="en-US" altLang="ko-KR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/ </a:t>
            </a:r>
            <a:r>
              <a:rPr lang="ko-KR" altLang="en-US" sz="12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판정 등의</a:t>
            </a:r>
            <a:endParaRPr lang="en-US" altLang="ko-KR" sz="12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r>
              <a:rPr lang="ko-KR" altLang="en-US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대부분의 업무가 사람의 수작업 및</a:t>
            </a:r>
            <a:endParaRPr lang="en-US" altLang="ko-KR" sz="12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r>
              <a:rPr lang="ko-KR" altLang="en-US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육안으로 진행되고 있음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469404" y="5341201"/>
            <a:ext cx="222368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모듈의 불량 판정 뿐만이 아닌</a:t>
            </a:r>
            <a:endParaRPr lang="en-US" altLang="ko-KR" sz="12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r>
              <a:rPr lang="ko-KR" altLang="en-US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전반적인 업무의 자동화를</a:t>
            </a:r>
            <a:endParaRPr lang="en-US" altLang="ko-KR" sz="12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r>
              <a:rPr lang="ko-KR" altLang="en-US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유도함으로써 </a:t>
            </a:r>
            <a:r>
              <a:rPr lang="en-US" altLang="ko-KR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BM</a:t>
            </a:r>
            <a:r>
              <a:rPr lang="ko-KR" altLang="en-US" sz="12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사의 </a:t>
            </a:r>
            <a:r>
              <a:rPr lang="en-US" altLang="ko-KR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DX</a:t>
            </a:r>
            <a:r>
              <a:rPr lang="ko-KR" altLang="en-US" sz="12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기반의</a:t>
            </a:r>
            <a:endParaRPr lang="en-US" altLang="ko-KR" sz="12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r>
              <a:rPr lang="ko-KR" altLang="en-US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일하는 문화 확대</a:t>
            </a:r>
            <a:endParaRPr lang="en-US" altLang="ko-KR" sz="12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117632" y="5341201"/>
            <a:ext cx="274466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DX</a:t>
            </a:r>
            <a:r>
              <a:rPr lang="ko-KR" altLang="en-US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의 확대 전개를 </a:t>
            </a:r>
            <a:r>
              <a:rPr lang="en-US" altLang="ko-KR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HE</a:t>
            </a:r>
            <a:r>
              <a:rPr lang="ko-KR" altLang="en-US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본부 </a:t>
            </a:r>
            <a:r>
              <a:rPr lang="ko-KR" altLang="en-US" sz="1200" dirty="0" err="1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뿐만아니라</a:t>
            </a:r>
            <a:endParaRPr lang="en-US" altLang="ko-KR" sz="12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r>
              <a:rPr lang="ko-KR" altLang="en-US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함께 업무를 진행하고 있는 </a:t>
            </a:r>
            <a:r>
              <a:rPr lang="ko-KR" altLang="en-US" sz="1200" dirty="0" err="1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협력사까지</a:t>
            </a:r>
            <a:endParaRPr lang="en-US" altLang="ko-KR" sz="120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r>
              <a:rPr lang="ko-KR" altLang="en-US" sz="12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확대전개를 </a:t>
            </a:r>
            <a:r>
              <a:rPr lang="ko-KR" altLang="en-US" sz="120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유도하여 협력사의 </a:t>
            </a:r>
            <a:r>
              <a:rPr lang="en-US" altLang="ko-KR" sz="120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DX </a:t>
            </a:r>
            <a:r>
              <a:rPr lang="ko-KR" altLang="en-US" sz="12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역량 </a:t>
            </a:r>
            <a:endParaRPr lang="en-US" altLang="ko-KR" sz="1200" dirty="0" smtClean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r>
              <a:rPr lang="ko-KR" altLang="en-US" sz="120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향상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을 통해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2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업무 효율화를 유도하고자 함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93811" y="891901"/>
            <a:ext cx="8368483" cy="702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>
                <a:latin typeface="Arial Narrow"/>
                <a:ea typeface="LG스마트체 Regular"/>
              </a:rPr>
              <a:t>BM</a:t>
            </a:r>
            <a:r>
              <a:rPr lang="ko-KR" altLang="en-US" sz="1400" dirty="0">
                <a:latin typeface="Arial Narrow"/>
                <a:ea typeface="LG스마트체 Regular"/>
              </a:rPr>
              <a:t>사에서 사람이 직접 육안으로 판별하고 있는 부자재 부착 불량 검증 작업을 완전 </a:t>
            </a:r>
            <a:r>
              <a:rPr lang="ko-KR" altLang="en-US" sz="1400">
                <a:latin typeface="Arial Narrow"/>
                <a:ea typeface="LG스마트체 Regular"/>
              </a:rPr>
              <a:t>자동화 </a:t>
            </a:r>
            <a:r>
              <a:rPr lang="ko-KR" altLang="en-US" sz="1400" smtClean="0">
                <a:latin typeface="Arial Narrow"/>
                <a:ea typeface="LG스마트체 Regular"/>
              </a:rPr>
              <a:t>공정으로 개선하기 </a:t>
            </a:r>
            <a:r>
              <a:rPr lang="ko-KR" altLang="en-US" sz="1400">
                <a:latin typeface="Arial Narrow"/>
                <a:ea typeface="LG스마트체 Regular"/>
              </a:rPr>
              <a:t>위해 </a:t>
            </a:r>
            <a:endParaRPr lang="en-US" altLang="ko-KR" sz="1400" dirty="0" smtClean="0">
              <a:latin typeface="Arial Narrow"/>
              <a:ea typeface="LG스마트체 Regular"/>
            </a:endParaRPr>
          </a:p>
          <a:p>
            <a:pPr>
              <a:lnSpc>
                <a:spcPct val="150000"/>
              </a:lnSpc>
            </a:pPr>
            <a:r>
              <a:rPr lang="ko-KR" altLang="en-US" sz="1400" smtClean="0">
                <a:latin typeface="Arial Narrow"/>
                <a:ea typeface="LG스마트체 Regular"/>
              </a:rPr>
              <a:t>이미지를 </a:t>
            </a:r>
            <a:r>
              <a:rPr lang="ko-KR" altLang="en-US" sz="1400" dirty="0">
                <a:latin typeface="Arial Narrow"/>
                <a:ea typeface="LG스마트체 Regular"/>
              </a:rPr>
              <a:t>활용한 머신 러닝 기반 판별 </a:t>
            </a:r>
            <a:r>
              <a:rPr lang="en-US" altLang="ko-KR" sz="1400" dirty="0">
                <a:latin typeface="Arial Narrow"/>
                <a:ea typeface="LG스마트체 Regular"/>
              </a:rPr>
              <a:t>system </a:t>
            </a:r>
            <a:r>
              <a:rPr lang="ko-KR" altLang="en-US" sz="1400" dirty="0">
                <a:latin typeface="Arial Narrow"/>
                <a:ea typeface="LG스마트체 Regular"/>
              </a:rPr>
              <a:t>구축의 필요성이 증대되고 있음</a:t>
            </a:r>
          </a:p>
        </p:txBody>
      </p:sp>
      <p:sp>
        <p:nvSpPr>
          <p:cNvPr id="28" name="Text Box 2"/>
          <p:cNvSpPr txBox="1">
            <a:spLocks noChangeArrowheads="1"/>
          </p:cNvSpPr>
          <p:nvPr/>
        </p:nvSpPr>
        <p:spPr bwMode="auto">
          <a:xfrm>
            <a:off x="95250" y="141015"/>
            <a:ext cx="3752630" cy="3323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ko-KR" sz="2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2</a:t>
            </a:r>
            <a:r>
              <a:rPr lang="en-US" altLang="ko-KR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. </a:t>
            </a:r>
            <a:r>
              <a:rPr lang="ko-KR" altLang="en-US" sz="2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실행 과제 </a:t>
            </a:r>
            <a:r>
              <a:rPr lang="en-US" altLang="ko-KR" sz="2400" b="1" dirty="0" err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Impact_</a:t>
            </a:r>
            <a:r>
              <a:rPr lang="en-US" altLang="ko-KR" sz="1600" b="1" dirty="0" err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KPI</a:t>
            </a:r>
            <a:r>
              <a:rPr lang="en-US" altLang="ko-KR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목표 설정</a:t>
            </a:r>
            <a:endParaRPr lang="ko-KR" altLang="en-US" sz="16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791949" y="2474120"/>
            <a:ext cx="2205959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목표 </a:t>
            </a:r>
            <a:r>
              <a:rPr lang="en-US" altLang="ko-KR" sz="1050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05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정 완전 자동화 달성을 통해</a:t>
            </a:r>
            <a:endParaRPr lang="en-US" altLang="ko-KR" sz="1050" dirty="0" smtClean="0">
              <a:solidFill>
                <a:srgbClr val="008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050" dirty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50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   BM</a:t>
            </a:r>
            <a:r>
              <a:rPr lang="ko-KR" altLang="en-US" sz="105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 불량 판정인원 감축</a:t>
            </a:r>
            <a:endParaRPr lang="en-US" altLang="ko-KR" sz="1050" dirty="0" smtClean="0">
              <a:solidFill>
                <a:srgbClr val="008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050" dirty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50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  </a:t>
            </a:r>
            <a:r>
              <a:rPr lang="ko-KR" altLang="en-US" sz="105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상세 인원 </a:t>
            </a:r>
            <a:r>
              <a:rPr lang="en-US" altLang="ko-KR" sz="1050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M</a:t>
            </a:r>
            <a:r>
              <a:rPr lang="ko-KR" altLang="en-US" sz="105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 검토 중</a:t>
            </a:r>
            <a:endParaRPr lang="ko-KR" altLang="en-US" sz="1050" dirty="0">
              <a:solidFill>
                <a:srgbClr val="008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791949" y="3621390"/>
            <a:ext cx="205366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목표 </a:t>
            </a:r>
            <a:r>
              <a:rPr lang="en-US" altLang="ko-KR" sz="1050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100%(</a:t>
            </a:r>
            <a:r>
              <a:rPr lang="ko-KR" altLang="en-US" sz="105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량 완전판별 달성</a:t>
            </a:r>
            <a:r>
              <a:rPr lang="en-US" altLang="ko-KR" sz="1050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ko-KR" altLang="en-US" sz="1050" dirty="0">
              <a:solidFill>
                <a:srgbClr val="008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791949" y="4253078"/>
            <a:ext cx="205366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dirty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목표 </a:t>
            </a:r>
            <a:r>
              <a:rPr lang="en-US" altLang="ko-KR" sz="1050" dirty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05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듈 </a:t>
            </a:r>
            <a:r>
              <a:rPr lang="en-US" altLang="ko-KR" sz="1050" dirty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r>
              <a:rPr lang="ko-KR" altLang="en-US" sz="105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대당 </a:t>
            </a:r>
            <a:r>
              <a:rPr lang="en-US" altLang="ko-KR" sz="1050" dirty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r>
              <a:rPr lang="ko-KR" altLang="en-US" sz="105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초 이내 판정</a:t>
            </a:r>
            <a:endParaRPr lang="ko-KR" altLang="en-US" sz="1050" dirty="0">
              <a:solidFill>
                <a:srgbClr val="008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0" name="Text Box 57"/>
          <p:cNvSpPr txBox="1">
            <a:spLocks noChangeArrowheads="1"/>
          </p:cNvSpPr>
          <p:nvPr/>
        </p:nvSpPr>
        <p:spPr bwMode="auto">
          <a:xfrm>
            <a:off x="7277476" y="3188876"/>
            <a:ext cx="226467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기존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자동화 시스템이 없으며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 sz="120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불량 출하 제로화 달성을 위해 정확도 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100%</a:t>
            </a:r>
            <a:r>
              <a:rPr lang="ko-KR" altLang="en-US" sz="120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로 설정</a:t>
            </a:r>
            <a:endParaRPr lang="ko-KR" altLang="en-US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31" name="Text Box 57"/>
          <p:cNvSpPr txBox="1">
            <a:spLocks noChangeArrowheads="1"/>
          </p:cNvSpPr>
          <p:nvPr/>
        </p:nvSpPr>
        <p:spPr bwMode="auto">
          <a:xfrm>
            <a:off x="7277476" y="3970140"/>
            <a:ext cx="226467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20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정지상태가 아닌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 sz="120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흐름라인에서의 판정 가능성 까지 검토하기 위해 초당 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1</a:t>
            </a:r>
            <a:r>
              <a:rPr lang="ko-KR" altLang="en-US" sz="120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대 이상 분석으로 목표 설정함</a:t>
            </a:r>
            <a:endParaRPr lang="ko-KR" altLang="en-US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921" y="6491436"/>
            <a:ext cx="1156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병천 책임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39823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W1Ie2sKk2V8zxTFhWC2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DBPMRbQEK4PwqppxHt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3TtKog5EC2ycmDwU4NK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3TtKog5EC2ycmDwU4N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heme/theme1.xml><?xml version="1.0" encoding="utf-8"?>
<a:theme xmlns:a="http://schemas.openxmlformats.org/drawingml/2006/main" name="1_제목 슬라이드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66700" indent="-266700">
          <a:lnSpc>
            <a:spcPct val="130000"/>
          </a:lnSpc>
          <a:buClr>
            <a:srgbClr val="C5003D"/>
          </a:buClr>
          <a:buFont typeface="Wingdings" pitchFamily="2" charset="2"/>
          <a:buChar char="u"/>
          <a:defRPr sz="1600" b="1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5_2007년 DA 장표양식">
  <a:themeElements>
    <a:clrScheme name="2_2007년 DA 장표양식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5_2007년 DA 장표양식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2007년 DA 장표양식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2007년 DA 장표양식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2007년 DA 장표양식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2007년 DA 장표양식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2007년 DA 장표양식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2007년 DA 장표양식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2007년 DA 장표양식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2007년 DA 장표양식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2007년 DA 장표양식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2007년 DA 장표양식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2007년 DA 장표양식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2007년 DA 장표양식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0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0_기본 디자인">
      <a:majorFont>
        <a:latin typeface="Arial"/>
        <a:ea typeface="돋움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1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0_기본 디자인">
      <a:majorFont>
        <a:latin typeface="Arial"/>
        <a:ea typeface="돋움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</a:spPr>
      <a:bodyPr wrap="square" lIns="0" tIns="0" rIns="0" bIns="0" rtlCol="0" anchor="ctr">
        <a:noAutofit/>
      </a:bodyPr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000" kern="0" dirty="0" err="1" smtClean="0">
            <a:solidFill>
              <a:srgbClr val="C00000"/>
            </a:solidFill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110000"/>
          </a:lnSpc>
          <a:spcBef>
            <a:spcPts val="400"/>
          </a:spcBef>
          <a:defRPr sz="1200" dirty="0" err="1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4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사용자 지정 1">
      <a:majorFont>
        <a:latin typeface="Arial Narrow"/>
        <a:ea typeface="LG스마트체 Regular"/>
        <a:cs typeface="Arial"/>
      </a:majorFont>
      <a:minorFont>
        <a:latin typeface="Arial Narrow"/>
        <a:ea typeface="LG스마트체 Regular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3175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317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000" b="0" dirty="0" smtClean="0">
            <a:solidFill>
              <a:srgbClr val="006600"/>
            </a:solidFill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571</TotalTime>
  <Words>4335</Words>
  <Application>Microsoft Office PowerPoint</Application>
  <PresentationFormat>A4 용지(210x297mm)</PresentationFormat>
  <Paragraphs>735</Paragraphs>
  <Slides>39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6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9</vt:i4>
      </vt:variant>
    </vt:vector>
  </HeadingPairs>
  <TitlesOfParts>
    <vt:vector size="55" baseType="lpstr">
      <vt:lpstr>LG스마트체 Regular</vt:lpstr>
      <vt:lpstr>LG스마트체2.0 Regular</vt:lpstr>
      <vt:lpstr>굴림</vt:lpstr>
      <vt:lpstr>돋움</vt:lpstr>
      <vt:lpstr>맑은 고딕</vt:lpstr>
      <vt:lpstr>Arial</vt:lpstr>
      <vt:lpstr>Arial Narrow</vt:lpstr>
      <vt:lpstr>Calibri</vt:lpstr>
      <vt:lpstr>Wingdings</vt:lpstr>
      <vt:lpstr>1_제목 슬라이드</vt:lpstr>
      <vt:lpstr>5_2007년 DA 장표양식</vt:lpstr>
      <vt:lpstr>10_기본 디자인</vt:lpstr>
      <vt:lpstr>11_기본 디자인</vt:lpstr>
      <vt:lpstr>1_Office 테마</vt:lpstr>
      <vt:lpstr>4_디자인 사용자 지정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L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Administrator</dc:creator>
  <cp:lastModifiedBy>원종권/연구원/TV NanoCell Project(jongkwon77.won@lge.com)</cp:lastModifiedBy>
  <cp:revision>2918</cp:revision>
  <cp:lastPrinted>2017-02-13T02:24:20Z</cp:lastPrinted>
  <dcterms:created xsi:type="dcterms:W3CDTF">2012-01-20T03:23:33Z</dcterms:created>
  <dcterms:modified xsi:type="dcterms:W3CDTF">2023-09-12T07:2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c6ed9fc-fefc-4a0c-a6d6-10cf236c0d4f_Enabled">
    <vt:lpwstr>true</vt:lpwstr>
  </property>
  <property fmtid="{D5CDD505-2E9C-101B-9397-08002B2CF9AE}" pid="3" name="MSIP_Label_cc6ed9fc-fefc-4a0c-a6d6-10cf236c0d4f_SetDate">
    <vt:lpwstr>2023-09-12T07:28:18Z</vt:lpwstr>
  </property>
  <property fmtid="{D5CDD505-2E9C-101B-9397-08002B2CF9AE}" pid="4" name="MSIP_Label_cc6ed9fc-fefc-4a0c-a6d6-10cf236c0d4f_Method">
    <vt:lpwstr>Standard</vt:lpwstr>
  </property>
  <property fmtid="{D5CDD505-2E9C-101B-9397-08002B2CF9AE}" pid="5" name="MSIP_Label_cc6ed9fc-fefc-4a0c-a6d6-10cf236c0d4f_Name">
    <vt:lpwstr>Internal use only</vt:lpwstr>
  </property>
  <property fmtid="{D5CDD505-2E9C-101B-9397-08002B2CF9AE}" pid="6" name="MSIP_Label_cc6ed9fc-fefc-4a0c-a6d6-10cf236c0d4f_SiteId">
    <vt:lpwstr>5069cde4-642a-45c0-8094-d0c2dec10be3</vt:lpwstr>
  </property>
  <property fmtid="{D5CDD505-2E9C-101B-9397-08002B2CF9AE}" pid="7" name="MSIP_Label_cc6ed9fc-fefc-4a0c-a6d6-10cf236c0d4f_ActionId">
    <vt:lpwstr>f2710a7c-39f9-45b3-a84a-b34241f4e010</vt:lpwstr>
  </property>
  <property fmtid="{D5CDD505-2E9C-101B-9397-08002B2CF9AE}" pid="8" name="MSIP_Label_cc6ed9fc-fefc-4a0c-a6d6-10cf236c0d4f_ContentBits">
    <vt:lpwstr>1</vt:lpwstr>
  </property>
</Properties>
</file>